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gif" ContentType="image/gi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3"/>
  </p:notesMasterIdLst>
  <p:handoutMasterIdLst>
    <p:handoutMasterId r:id="rId40"/>
  </p:handoutMasterIdLst>
  <p:sldIdLst>
    <p:sldId id="531" r:id="rId3"/>
    <p:sldId id="532" r:id="rId4"/>
    <p:sldId id="526" r:id="rId5"/>
    <p:sldId id="527" r:id="rId6"/>
    <p:sldId id="529" r:id="rId7"/>
    <p:sldId id="530" r:id="rId8"/>
    <p:sldId id="338" r:id="rId9"/>
    <p:sldId id="475" r:id="rId10"/>
    <p:sldId id="337" r:id="rId11"/>
    <p:sldId id="336" r:id="rId12"/>
    <p:sldId id="452" r:id="rId14"/>
    <p:sldId id="376" r:id="rId15"/>
    <p:sldId id="388" r:id="rId16"/>
    <p:sldId id="377" r:id="rId17"/>
    <p:sldId id="378" r:id="rId18"/>
    <p:sldId id="504" r:id="rId19"/>
    <p:sldId id="506" r:id="rId20"/>
    <p:sldId id="505" r:id="rId21"/>
    <p:sldId id="375" r:id="rId22"/>
    <p:sldId id="390" r:id="rId23"/>
    <p:sldId id="391" r:id="rId24"/>
    <p:sldId id="392" r:id="rId25"/>
    <p:sldId id="406" r:id="rId26"/>
    <p:sldId id="407" r:id="rId27"/>
    <p:sldId id="404" r:id="rId28"/>
    <p:sldId id="405" r:id="rId29"/>
    <p:sldId id="408" r:id="rId30"/>
    <p:sldId id="409" r:id="rId31"/>
    <p:sldId id="410" r:id="rId32"/>
    <p:sldId id="411" r:id="rId33"/>
    <p:sldId id="412" r:id="rId34"/>
    <p:sldId id="473" r:id="rId35"/>
    <p:sldId id="261" r:id="rId36"/>
    <p:sldId id="499" r:id="rId37"/>
    <p:sldId id="502" r:id="rId38"/>
    <p:sldId id="498" r:id="rId39"/>
  </p:sldIdLst>
  <p:sldSz cx="12192000" cy="6858000"/>
  <p:notesSz cx="6858000" cy="9144000"/>
  <p:custDataLst>
    <p:tags r:id="rId45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us" initials="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9FC"/>
    <a:srgbClr val="D7FCFD"/>
    <a:srgbClr val="8FB8E9"/>
    <a:srgbClr val="5B7FCD"/>
    <a:srgbClr val="4870C7"/>
    <a:srgbClr val="A20000"/>
    <a:srgbClr val="A40000"/>
    <a:srgbClr val="9E0000"/>
    <a:srgbClr val="C7450B"/>
    <a:srgbClr val="E24E0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70" autoAdjust="0"/>
    <p:restoredTop sz="96182" autoAdjust="0"/>
  </p:normalViewPr>
  <p:slideViewPr>
    <p:cSldViewPr snapToGrid="0">
      <p:cViewPr>
        <p:scale>
          <a:sx n="66" d="100"/>
          <a:sy n="66" d="100"/>
        </p:scale>
        <p:origin x="582" y="99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5" Type="http://schemas.openxmlformats.org/officeDocument/2006/relationships/tags" Target="tags/tag55.xml"/><Relationship Id="rId44" Type="http://schemas.openxmlformats.org/officeDocument/2006/relationships/commentAuthors" Target="commentAuthors.xml"/><Relationship Id="rId43" Type="http://schemas.openxmlformats.org/officeDocument/2006/relationships/tableStyles" Target="tableStyles.xml"/><Relationship Id="rId42" Type="http://schemas.openxmlformats.org/officeDocument/2006/relationships/viewProps" Target="viewProps.xml"/><Relationship Id="rId41" Type="http://schemas.openxmlformats.org/officeDocument/2006/relationships/presProps" Target="presProps.xml"/><Relationship Id="rId4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幻灯片图像占位符 1"/>
          <p:cNvSpPr/>
          <p:nvPr>
            <p:ph type="sldImg" idx="2"/>
          </p:nvPr>
        </p:nvSpPr>
        <p:spPr/>
      </p:sp>
      <p:sp>
        <p:nvSpPr>
          <p:cNvPr id="3" name="文本占位符 2"/>
          <p:cNvSpPr/>
          <p:nvPr>
            <p:ph type="body" idx="3"/>
          </p:nvPr>
        </p:nvSpPr>
        <p:spPr/>
        <p:txBody>
          <a:bodyPr/>
          <a:p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íSlïdè"/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281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grpSp>
        <p:nvGrpSpPr>
          <p:cNvPr id="3" name="组合 2"/>
          <p:cNvGrpSpPr/>
          <p:nvPr userDrawn="1"/>
        </p:nvGrpSpPr>
        <p:grpSpPr>
          <a:xfrm>
            <a:off x="459836" y="462258"/>
            <a:ext cx="11526927" cy="5675017"/>
            <a:chOff x="459836" y="462258"/>
            <a:chExt cx="11526927" cy="5675017"/>
          </a:xfrm>
        </p:grpSpPr>
        <p:grpSp>
          <p:nvGrpSpPr>
            <p:cNvPr id="6" name="图形 278"/>
            <p:cNvGrpSpPr/>
            <p:nvPr userDrawn="1"/>
          </p:nvGrpSpPr>
          <p:grpSpPr>
            <a:xfrm>
              <a:off x="4770226" y="462258"/>
              <a:ext cx="2170035" cy="4673081"/>
              <a:chOff x="4178322" y="3153106"/>
              <a:chExt cx="1559976" cy="3359345"/>
            </a:xfrm>
            <a:solidFill>
              <a:schemeClr val="accent1"/>
            </a:solidFill>
          </p:grpSpPr>
          <p:sp>
            <p:nvSpPr>
              <p:cNvPr id="7" name="iṧļídê"/>
              <p:cNvSpPr/>
              <p:nvPr/>
            </p:nvSpPr>
            <p:spPr>
              <a:xfrm>
                <a:off x="4466003" y="6436347"/>
                <a:ext cx="1157001" cy="76104"/>
              </a:xfrm>
              <a:custGeom>
                <a:avLst/>
                <a:gdLst>
                  <a:gd name="connsiteX0" fmla="*/ 0 w 1157001"/>
                  <a:gd name="connsiteY0" fmla="*/ 0 h 76104"/>
                  <a:gd name="connsiteX1" fmla="*/ 0 w 1157001"/>
                  <a:gd name="connsiteY1" fmla="*/ 76105 h 76104"/>
                  <a:gd name="connsiteX2" fmla="*/ 1157002 w 1157001"/>
                  <a:gd name="connsiteY2" fmla="*/ 76105 h 76104"/>
                  <a:gd name="connsiteX3" fmla="*/ 1156049 w 1157001"/>
                  <a:gd name="connsiteY3" fmla="*/ 0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7001" h="76104">
                    <a:moveTo>
                      <a:pt x="0" y="0"/>
                    </a:moveTo>
                    <a:lnTo>
                      <a:pt x="0" y="76105"/>
                    </a:lnTo>
                    <a:lnTo>
                      <a:pt x="1157002" y="76105"/>
                    </a:lnTo>
                    <a:lnTo>
                      <a:pt x="115604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8" name="ïsļíďé"/>
              <p:cNvSpPr/>
              <p:nvPr/>
            </p:nvSpPr>
            <p:spPr>
              <a:xfrm>
                <a:off x="4190159" y="4043777"/>
                <a:ext cx="719804" cy="896287"/>
              </a:xfrm>
              <a:custGeom>
                <a:avLst/>
                <a:gdLst>
                  <a:gd name="connsiteX0" fmla="*/ 0 w 719804"/>
                  <a:gd name="connsiteY0" fmla="*/ 782083 h 896287"/>
                  <a:gd name="connsiteX1" fmla="*/ 18574 w 719804"/>
                  <a:gd name="connsiteY1" fmla="*/ 785702 h 896287"/>
                  <a:gd name="connsiteX2" fmla="*/ 408622 w 719804"/>
                  <a:gd name="connsiteY2" fmla="*/ 861140 h 896287"/>
                  <a:gd name="connsiteX3" fmla="*/ 590169 w 719804"/>
                  <a:gd name="connsiteY3" fmla="*/ 896288 h 896287"/>
                  <a:gd name="connsiteX4" fmla="*/ 719804 w 719804"/>
                  <a:gd name="connsiteY4" fmla="*/ 366 h 896287"/>
                  <a:gd name="connsiteX5" fmla="*/ 0 w 719804"/>
                  <a:gd name="connsiteY5" fmla="*/ 782083 h 89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9804" h="896287">
                    <a:moveTo>
                      <a:pt x="0" y="782083"/>
                    </a:moveTo>
                    <a:lnTo>
                      <a:pt x="18574" y="785702"/>
                    </a:lnTo>
                    <a:lnTo>
                      <a:pt x="408622" y="861140"/>
                    </a:lnTo>
                    <a:lnTo>
                      <a:pt x="590169" y="896288"/>
                    </a:lnTo>
                    <a:lnTo>
                      <a:pt x="719804" y="366"/>
                    </a:lnTo>
                    <a:cubicBezTo>
                      <a:pt x="719804" y="271"/>
                      <a:pt x="55054" y="-40972"/>
                      <a:pt x="0" y="782083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9" name="íṣliḑé"/>
              <p:cNvSpPr/>
              <p:nvPr/>
            </p:nvSpPr>
            <p:spPr>
              <a:xfrm>
                <a:off x="4439333" y="4029665"/>
                <a:ext cx="1205770" cy="2434970"/>
              </a:xfrm>
              <a:custGeom>
                <a:avLst/>
                <a:gdLst>
                  <a:gd name="connsiteX0" fmla="*/ 0 w 1205770"/>
                  <a:gd name="connsiteY0" fmla="*/ 2434971 h 2434970"/>
                  <a:gd name="connsiteX1" fmla="*/ 121920 w 1205770"/>
                  <a:gd name="connsiteY1" fmla="*/ 170783 h 2434970"/>
                  <a:gd name="connsiteX2" fmla="*/ 649796 w 1205770"/>
                  <a:gd name="connsiteY2" fmla="*/ 0 h 2434970"/>
                  <a:gd name="connsiteX3" fmla="*/ 1149954 w 1205770"/>
                  <a:gd name="connsiteY3" fmla="*/ 605123 h 2434970"/>
                  <a:gd name="connsiteX4" fmla="*/ 1205770 w 1205770"/>
                  <a:gd name="connsiteY4" fmla="*/ 2434876 h 2434970"/>
                  <a:gd name="connsiteX5" fmla="*/ 0 w 1205770"/>
                  <a:gd name="connsiteY5" fmla="*/ 2434876 h 2434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5770" h="2434970">
                    <a:moveTo>
                      <a:pt x="0" y="2434971"/>
                    </a:moveTo>
                    <a:lnTo>
                      <a:pt x="121920" y="170783"/>
                    </a:lnTo>
                    <a:cubicBezTo>
                      <a:pt x="121920" y="170783"/>
                      <a:pt x="275368" y="0"/>
                      <a:pt x="649796" y="0"/>
                    </a:cubicBezTo>
                    <a:cubicBezTo>
                      <a:pt x="1024224" y="0"/>
                      <a:pt x="1149954" y="292799"/>
                      <a:pt x="1149954" y="605123"/>
                    </a:cubicBezTo>
                    <a:cubicBezTo>
                      <a:pt x="1149954" y="917448"/>
                      <a:pt x="1205770" y="2434876"/>
                      <a:pt x="1205770" y="2434876"/>
                    </a:cubicBezTo>
                    <a:lnTo>
                      <a:pt x="0" y="2434876"/>
                    </a:ln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" name="图形 278"/>
              <p:cNvGrpSpPr/>
              <p:nvPr/>
            </p:nvGrpSpPr>
            <p:grpSpPr>
              <a:xfrm>
                <a:off x="4754992" y="3998900"/>
                <a:ext cx="444341" cy="867441"/>
                <a:chOff x="4754992" y="3998900"/>
                <a:chExt cx="444341" cy="867441"/>
              </a:xfrm>
              <a:solidFill>
                <a:schemeClr val="accent1"/>
              </a:solidFill>
            </p:grpSpPr>
            <p:sp>
              <p:nvSpPr>
                <p:cNvPr id="39" name="íSļiďé"/>
                <p:cNvSpPr/>
                <p:nvPr/>
              </p:nvSpPr>
              <p:spPr>
                <a:xfrm>
                  <a:off x="4754992" y="3998900"/>
                  <a:ext cx="444341" cy="699134"/>
                </a:xfrm>
                <a:custGeom>
                  <a:avLst/>
                  <a:gdLst>
                    <a:gd name="connsiteX0" fmla="*/ 220980 w 444341"/>
                    <a:gd name="connsiteY0" fmla="*/ 0 h 699134"/>
                    <a:gd name="connsiteX1" fmla="*/ 220980 w 444341"/>
                    <a:gd name="connsiteY1" fmla="*/ 0 h 699134"/>
                    <a:gd name="connsiteX2" fmla="*/ 0 w 444341"/>
                    <a:gd name="connsiteY2" fmla="*/ 201549 h 699134"/>
                    <a:gd name="connsiteX3" fmla="*/ 223361 w 444341"/>
                    <a:gd name="connsiteY3" fmla="*/ 699135 h 699134"/>
                    <a:gd name="connsiteX4" fmla="*/ 444341 w 444341"/>
                    <a:gd name="connsiteY4" fmla="*/ 201549 h 699134"/>
                    <a:gd name="connsiteX5" fmla="*/ 220980 w 444341"/>
                    <a:gd name="connsiteY5" fmla="*/ 0 h 699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341" h="699134">
                      <a:moveTo>
                        <a:pt x="220980" y="0"/>
                      </a:moveTo>
                      <a:lnTo>
                        <a:pt x="220980" y="0"/>
                      </a:lnTo>
                      <a:cubicBezTo>
                        <a:pt x="197739" y="952"/>
                        <a:pt x="0" y="14383"/>
                        <a:pt x="0" y="201549"/>
                      </a:cubicBezTo>
                      <a:cubicBezTo>
                        <a:pt x="0" y="388525"/>
                        <a:pt x="199739" y="671798"/>
                        <a:pt x="223361" y="699135"/>
                      </a:cubicBezTo>
                      <a:cubicBezTo>
                        <a:pt x="247079" y="671893"/>
                        <a:pt x="444341" y="388525"/>
                        <a:pt x="444341" y="201549"/>
                      </a:cubicBezTo>
                      <a:cubicBezTo>
                        <a:pt x="444341" y="14383"/>
                        <a:pt x="244221" y="952"/>
                        <a:pt x="220980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0" name="ïṡḷíḓè"/>
                <p:cNvSpPr/>
                <p:nvPr/>
              </p:nvSpPr>
              <p:spPr>
                <a:xfrm>
                  <a:off x="4853480" y="4718323"/>
                  <a:ext cx="247364" cy="148018"/>
                </a:xfrm>
                <a:custGeom>
                  <a:avLst/>
                  <a:gdLst>
                    <a:gd name="connsiteX0" fmla="*/ 0 w 247364"/>
                    <a:gd name="connsiteY0" fmla="*/ 0 h 148018"/>
                    <a:gd name="connsiteX1" fmla="*/ 247364 w 247364"/>
                    <a:gd name="connsiteY1" fmla="*/ 0 h 148018"/>
                    <a:gd name="connsiteX2" fmla="*/ 247364 w 247364"/>
                    <a:gd name="connsiteY2" fmla="*/ 148018 h 148018"/>
                    <a:gd name="connsiteX3" fmla="*/ 0 w 247364"/>
                    <a:gd name="connsiteY3" fmla="*/ 148018 h 14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4" h="148018">
                      <a:moveTo>
                        <a:pt x="0" y="0"/>
                      </a:moveTo>
                      <a:lnTo>
                        <a:pt x="247364" y="0"/>
                      </a:lnTo>
                      <a:lnTo>
                        <a:pt x="247364" y="148018"/>
                      </a:lnTo>
                      <a:lnTo>
                        <a:pt x="0" y="1480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1" name="ísľíḑe"/>
                <p:cNvSpPr/>
                <p:nvPr/>
              </p:nvSpPr>
              <p:spPr>
                <a:xfrm>
                  <a:off x="4978353" y="4698035"/>
                  <a:ext cx="9525" cy="40481"/>
                </a:xfrm>
                <a:custGeom>
                  <a:avLst/>
                  <a:gdLst>
                    <a:gd name="connsiteX0" fmla="*/ 0 w 9525"/>
                    <a:gd name="connsiteY0" fmla="*/ 0 h 40481"/>
                    <a:gd name="connsiteX1" fmla="*/ 0 w 9525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0481">
                      <a:moveTo>
                        <a:pt x="0" y="0"/>
                      </a:moveTo>
                      <a:lnTo>
                        <a:pt x="0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2" name="îṧ1ïḋè"/>
                <p:cNvSpPr/>
                <p:nvPr/>
              </p:nvSpPr>
              <p:spPr>
                <a:xfrm>
                  <a:off x="4880912" y="4757471"/>
                  <a:ext cx="56197" cy="56197"/>
                </a:xfrm>
                <a:custGeom>
                  <a:avLst/>
                  <a:gdLst>
                    <a:gd name="connsiteX0" fmla="*/ 0 w 56197"/>
                    <a:gd name="connsiteY0" fmla="*/ 0 h 56197"/>
                    <a:gd name="connsiteX1" fmla="*/ 56197 w 56197"/>
                    <a:gd name="connsiteY1" fmla="*/ 0 h 56197"/>
                    <a:gd name="connsiteX2" fmla="*/ 56197 w 56197"/>
                    <a:gd name="connsiteY2" fmla="*/ 56197 h 56197"/>
                    <a:gd name="connsiteX3" fmla="*/ 0 w 56197"/>
                    <a:gd name="connsiteY3" fmla="*/ 56197 h 56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56197">
                      <a:moveTo>
                        <a:pt x="0" y="0"/>
                      </a:moveTo>
                      <a:lnTo>
                        <a:pt x="56197" y="0"/>
                      </a:lnTo>
                      <a:lnTo>
                        <a:pt x="56197" y="56197"/>
                      </a:lnTo>
                      <a:lnTo>
                        <a:pt x="0" y="56197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ïslïdé"/>
                <p:cNvSpPr/>
                <p:nvPr/>
              </p:nvSpPr>
              <p:spPr>
                <a:xfrm>
                  <a:off x="4965590" y="4757471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î$ľîḓe"/>
                <p:cNvSpPr/>
                <p:nvPr/>
              </p:nvSpPr>
              <p:spPr>
                <a:xfrm>
                  <a:off x="4965590" y="4780998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ï$ḻïḍê"/>
                <p:cNvSpPr/>
                <p:nvPr/>
              </p:nvSpPr>
              <p:spPr>
                <a:xfrm>
                  <a:off x="4965590" y="4804429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iṩlíďê"/>
                <p:cNvSpPr/>
                <p:nvPr/>
              </p:nvSpPr>
              <p:spPr>
                <a:xfrm>
                  <a:off x="4965590" y="4827956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iš1iḑê"/>
                <p:cNvSpPr/>
                <p:nvPr/>
              </p:nvSpPr>
              <p:spPr>
                <a:xfrm>
                  <a:off x="4880912" y="4827956"/>
                  <a:ext cx="56197" cy="9144"/>
                </a:xfrm>
                <a:custGeom>
                  <a:avLst/>
                  <a:gdLst>
                    <a:gd name="connsiteX0" fmla="*/ 0 w 56197"/>
                    <a:gd name="connsiteY0" fmla="*/ 0 h 9144"/>
                    <a:gd name="connsiteX1" fmla="*/ 56197 w 56197"/>
                    <a:gd name="connsiteY1" fmla="*/ 0 h 9144"/>
                    <a:gd name="connsiteX2" fmla="*/ 56197 w 56197"/>
                    <a:gd name="connsiteY2" fmla="*/ 9144 h 9144"/>
                    <a:gd name="connsiteX3" fmla="*/ 0 w 56197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9144">
                      <a:moveTo>
                        <a:pt x="0" y="0"/>
                      </a:moveTo>
                      <a:lnTo>
                        <a:pt x="56197" y="0"/>
                      </a:lnTo>
                      <a:lnTo>
                        <a:pt x="561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" name="îṡḷíḋê"/>
              <p:cNvSpPr/>
              <p:nvPr/>
            </p:nvSpPr>
            <p:spPr>
              <a:xfrm>
                <a:off x="4850451" y="4638027"/>
                <a:ext cx="851496" cy="914304"/>
              </a:xfrm>
              <a:custGeom>
                <a:avLst/>
                <a:gdLst>
                  <a:gd name="connsiteX0" fmla="*/ 610629 w 851496"/>
                  <a:gd name="connsiteY0" fmla="*/ 914305 h 914304"/>
                  <a:gd name="connsiteX1" fmla="*/ 71704 w 851496"/>
                  <a:gd name="connsiteY1" fmla="*/ 914305 h 914304"/>
                  <a:gd name="connsiteX2" fmla="*/ 1696 w 851496"/>
                  <a:gd name="connsiteY2" fmla="*/ 827246 h 914304"/>
                  <a:gd name="connsiteX3" fmla="*/ 170859 w 851496"/>
                  <a:gd name="connsiteY3" fmla="*/ 56293 h 914304"/>
                  <a:gd name="connsiteX4" fmla="*/ 240868 w 851496"/>
                  <a:gd name="connsiteY4" fmla="*/ 0 h 914304"/>
                  <a:gd name="connsiteX5" fmla="*/ 779793 w 851496"/>
                  <a:gd name="connsiteY5" fmla="*/ 0 h 914304"/>
                  <a:gd name="connsiteX6" fmla="*/ 849801 w 851496"/>
                  <a:gd name="connsiteY6" fmla="*/ 87058 h 914304"/>
                  <a:gd name="connsiteX7" fmla="*/ 680637 w 851496"/>
                  <a:gd name="connsiteY7" fmla="*/ 858012 h 914304"/>
                  <a:gd name="connsiteX8" fmla="*/ 610629 w 851496"/>
                  <a:gd name="connsiteY8" fmla="*/ 914305 h 91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496" h="914304">
                    <a:moveTo>
                      <a:pt x="610629" y="914305"/>
                    </a:moveTo>
                    <a:lnTo>
                      <a:pt x="71704" y="914305"/>
                    </a:lnTo>
                    <a:cubicBezTo>
                      <a:pt x="25889" y="914305"/>
                      <a:pt x="-8115" y="871918"/>
                      <a:pt x="1696" y="827246"/>
                    </a:cubicBezTo>
                    <a:lnTo>
                      <a:pt x="170859" y="56293"/>
                    </a:lnTo>
                    <a:cubicBezTo>
                      <a:pt x="178098" y="23431"/>
                      <a:pt x="207245" y="0"/>
                      <a:pt x="240868" y="0"/>
                    </a:cubicBezTo>
                    <a:lnTo>
                      <a:pt x="779793" y="0"/>
                    </a:lnTo>
                    <a:cubicBezTo>
                      <a:pt x="825608" y="0"/>
                      <a:pt x="859612" y="42386"/>
                      <a:pt x="849801" y="87058"/>
                    </a:cubicBezTo>
                    <a:lnTo>
                      <a:pt x="680637" y="858012"/>
                    </a:lnTo>
                    <a:cubicBezTo>
                      <a:pt x="673398" y="890778"/>
                      <a:pt x="644252" y="914305"/>
                      <a:pt x="610629" y="914305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" name="ísliďé"/>
              <p:cNvSpPr/>
              <p:nvPr/>
            </p:nvSpPr>
            <p:spPr>
              <a:xfrm>
                <a:off x="4178322" y="4829385"/>
                <a:ext cx="896899" cy="621601"/>
              </a:xfrm>
              <a:custGeom>
                <a:avLst/>
                <a:gdLst>
                  <a:gd name="connsiteX0" fmla="*/ 319494 w 896899"/>
                  <a:gd name="connsiteY0" fmla="*/ 332899 h 621601"/>
                  <a:gd name="connsiteX1" fmla="*/ 420459 w 896899"/>
                  <a:gd name="connsiteY1" fmla="*/ 75438 h 621601"/>
                  <a:gd name="connsiteX2" fmla="*/ 30410 w 896899"/>
                  <a:gd name="connsiteY2" fmla="*/ 0 h 621601"/>
                  <a:gd name="connsiteX3" fmla="*/ 178524 w 896899"/>
                  <a:gd name="connsiteY3" fmla="*/ 621601 h 621601"/>
                  <a:gd name="connsiteX4" fmla="*/ 896900 w 896899"/>
                  <a:gd name="connsiteY4" fmla="*/ 574643 h 621601"/>
                  <a:gd name="connsiteX5" fmla="*/ 896900 w 896899"/>
                  <a:gd name="connsiteY5" fmla="*/ 393383 h 621601"/>
                  <a:gd name="connsiteX6" fmla="*/ 319494 w 896899"/>
                  <a:gd name="connsiteY6" fmla="*/ 332899 h 6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899" h="621601">
                    <a:moveTo>
                      <a:pt x="319494" y="332899"/>
                    </a:moveTo>
                    <a:cubicBezTo>
                      <a:pt x="319494" y="332899"/>
                      <a:pt x="362643" y="228219"/>
                      <a:pt x="420459" y="75438"/>
                    </a:cubicBezTo>
                    <a:lnTo>
                      <a:pt x="30410" y="0"/>
                    </a:lnTo>
                    <a:cubicBezTo>
                      <a:pt x="-37884" y="502253"/>
                      <a:pt x="7741" y="621601"/>
                      <a:pt x="178524" y="621601"/>
                    </a:cubicBezTo>
                    <a:cubicBezTo>
                      <a:pt x="359785" y="621601"/>
                      <a:pt x="896900" y="574643"/>
                      <a:pt x="896900" y="574643"/>
                    </a:cubicBezTo>
                    <a:lnTo>
                      <a:pt x="896900" y="393383"/>
                    </a:lnTo>
                    <a:lnTo>
                      <a:pt x="319494" y="332899"/>
                    </a:ln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" name="图形 278"/>
              <p:cNvGrpSpPr/>
              <p:nvPr/>
            </p:nvGrpSpPr>
            <p:grpSpPr>
              <a:xfrm>
                <a:off x="4664028" y="3283858"/>
                <a:ext cx="559879" cy="962691"/>
                <a:chOff x="4664028" y="3283858"/>
                <a:chExt cx="559879" cy="962691"/>
              </a:xfrm>
              <a:solidFill>
                <a:schemeClr val="accent1"/>
              </a:solidFill>
            </p:grpSpPr>
            <p:sp>
              <p:nvSpPr>
                <p:cNvPr id="25" name="ïŝľíḑè"/>
                <p:cNvSpPr/>
                <p:nvPr/>
              </p:nvSpPr>
              <p:spPr>
                <a:xfrm>
                  <a:off x="4832811" y="3854596"/>
                  <a:ext cx="288703" cy="391953"/>
                </a:xfrm>
                <a:custGeom>
                  <a:avLst/>
                  <a:gdLst>
                    <a:gd name="connsiteX0" fmla="*/ 144304 w 288703"/>
                    <a:gd name="connsiteY0" fmla="*/ 391954 h 391953"/>
                    <a:gd name="connsiteX1" fmla="*/ 144304 w 288703"/>
                    <a:gd name="connsiteY1" fmla="*/ 391954 h 391953"/>
                    <a:gd name="connsiteX2" fmla="*/ 0 w 288703"/>
                    <a:gd name="connsiteY2" fmla="*/ 247650 h 391953"/>
                    <a:gd name="connsiteX3" fmla="*/ 0 w 288703"/>
                    <a:gd name="connsiteY3" fmla="*/ 0 h 391953"/>
                    <a:gd name="connsiteX4" fmla="*/ 288703 w 288703"/>
                    <a:gd name="connsiteY4" fmla="*/ 0 h 391953"/>
                    <a:gd name="connsiteX5" fmla="*/ 288703 w 288703"/>
                    <a:gd name="connsiteY5" fmla="*/ 247650 h 391953"/>
                    <a:gd name="connsiteX6" fmla="*/ 144304 w 288703"/>
                    <a:gd name="connsiteY6" fmla="*/ 391954 h 39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8703" h="391953">
                      <a:moveTo>
                        <a:pt x="144304" y="391954"/>
                      </a:moveTo>
                      <a:lnTo>
                        <a:pt x="144304" y="391954"/>
                      </a:lnTo>
                      <a:cubicBezTo>
                        <a:pt x="64580" y="391954"/>
                        <a:pt x="0" y="327374"/>
                        <a:pt x="0" y="247650"/>
                      </a:cubicBezTo>
                      <a:lnTo>
                        <a:pt x="0" y="0"/>
                      </a:lnTo>
                      <a:lnTo>
                        <a:pt x="288703" y="0"/>
                      </a:lnTo>
                      <a:lnTo>
                        <a:pt x="288703" y="247650"/>
                      </a:lnTo>
                      <a:cubicBezTo>
                        <a:pt x="288703" y="327279"/>
                        <a:pt x="224028" y="391954"/>
                        <a:pt x="144304" y="391954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6" name="íŝľíḓé"/>
                <p:cNvSpPr/>
                <p:nvPr/>
              </p:nvSpPr>
              <p:spPr>
                <a:xfrm>
                  <a:off x="4733846" y="3283858"/>
                  <a:ext cx="490061" cy="663511"/>
                </a:xfrm>
                <a:custGeom>
                  <a:avLst/>
                  <a:gdLst>
                    <a:gd name="connsiteX0" fmla="*/ 490061 w 490061"/>
                    <a:gd name="connsiteY0" fmla="*/ 376523 h 663511"/>
                    <a:gd name="connsiteX1" fmla="*/ 268510 w 490061"/>
                    <a:gd name="connsiteY1" fmla="*/ 663512 h 663511"/>
                    <a:gd name="connsiteX2" fmla="*/ 0 w 490061"/>
                    <a:gd name="connsiteY2" fmla="*/ 376523 h 663511"/>
                    <a:gd name="connsiteX3" fmla="*/ 245078 w 490061"/>
                    <a:gd name="connsiteY3" fmla="*/ 0 h 663511"/>
                    <a:gd name="connsiteX4" fmla="*/ 490061 w 490061"/>
                    <a:gd name="connsiteY4" fmla="*/ 376523 h 663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061" h="663511">
                      <a:moveTo>
                        <a:pt x="490061" y="376523"/>
                      </a:moveTo>
                      <a:cubicBezTo>
                        <a:pt x="490061" y="560070"/>
                        <a:pt x="403860" y="663512"/>
                        <a:pt x="268510" y="663512"/>
                      </a:cubicBezTo>
                      <a:cubicBezTo>
                        <a:pt x="133160" y="663512"/>
                        <a:pt x="0" y="560070"/>
                        <a:pt x="0" y="376523"/>
                      </a:cubicBezTo>
                      <a:cubicBezTo>
                        <a:pt x="0" y="192977"/>
                        <a:pt x="0" y="0"/>
                        <a:pt x="245078" y="0"/>
                      </a:cubicBezTo>
                      <a:cubicBezTo>
                        <a:pt x="490061" y="0"/>
                        <a:pt x="490061" y="192977"/>
                        <a:pt x="490061" y="37652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ïṩlíḓe"/>
                <p:cNvSpPr/>
                <p:nvPr/>
              </p:nvSpPr>
              <p:spPr>
                <a:xfrm>
                  <a:off x="4664028" y="3577744"/>
                  <a:ext cx="95154" cy="171505"/>
                </a:xfrm>
                <a:custGeom>
                  <a:avLst/>
                  <a:gdLst>
                    <a:gd name="connsiteX0" fmla="*/ 0 w 95154"/>
                    <a:gd name="connsiteY0" fmla="*/ 67778 h 171505"/>
                    <a:gd name="connsiteX1" fmla="*/ 95155 w 95154"/>
                    <a:gd name="connsiteY1" fmla="*/ 171505 h 171505"/>
                    <a:gd name="connsiteX2" fmla="*/ 95155 w 95154"/>
                    <a:gd name="connsiteY2" fmla="*/ 5484 h 171505"/>
                    <a:gd name="connsiteX3" fmla="*/ 0 w 95154"/>
                    <a:gd name="connsiteY3" fmla="*/ 67778 h 171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154" h="171505">
                      <a:moveTo>
                        <a:pt x="0" y="67778"/>
                      </a:moveTo>
                      <a:cubicBezTo>
                        <a:pt x="0" y="162933"/>
                        <a:pt x="95155" y="171505"/>
                        <a:pt x="95155" y="171505"/>
                      </a:cubicBezTo>
                      <a:lnTo>
                        <a:pt x="95155" y="5484"/>
                      </a:lnTo>
                      <a:cubicBezTo>
                        <a:pt x="95155" y="5484"/>
                        <a:pt x="0" y="-27377"/>
                        <a:pt x="0" y="6777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8" name="îṩḷîdè"/>
                <p:cNvSpPr/>
                <p:nvPr/>
              </p:nvSpPr>
              <p:spPr>
                <a:xfrm>
                  <a:off x="4696032" y="3617389"/>
                  <a:ext cx="45815" cy="92236"/>
                </a:xfrm>
                <a:custGeom>
                  <a:avLst/>
                  <a:gdLst>
                    <a:gd name="connsiteX0" fmla="*/ 0 w 45815"/>
                    <a:gd name="connsiteY0" fmla="*/ 36420 h 92236"/>
                    <a:gd name="connsiteX1" fmla="*/ 45815 w 45815"/>
                    <a:gd name="connsiteY1" fmla="*/ 92236 h 92236"/>
                    <a:gd name="connsiteX2" fmla="*/ 45815 w 45815"/>
                    <a:gd name="connsiteY2" fmla="*/ 2892 h 92236"/>
                    <a:gd name="connsiteX3" fmla="*/ 0 w 45815"/>
                    <a:gd name="connsiteY3" fmla="*/ 36420 h 92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815" h="92236">
                      <a:moveTo>
                        <a:pt x="0" y="36420"/>
                      </a:moveTo>
                      <a:cubicBezTo>
                        <a:pt x="0" y="87569"/>
                        <a:pt x="45815" y="92236"/>
                        <a:pt x="45815" y="92236"/>
                      </a:cubicBezTo>
                      <a:lnTo>
                        <a:pt x="45815" y="2892"/>
                      </a:lnTo>
                      <a:cubicBezTo>
                        <a:pt x="45815" y="2987"/>
                        <a:pt x="0" y="-14730"/>
                        <a:pt x="0" y="3642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9" name="íṥ1iḑè"/>
                <p:cNvSpPr/>
                <p:nvPr/>
              </p:nvSpPr>
              <p:spPr>
                <a:xfrm>
                  <a:off x="4853861" y="3575799"/>
                  <a:ext cx="66484" cy="49530"/>
                </a:xfrm>
                <a:custGeom>
                  <a:avLst/>
                  <a:gdLst>
                    <a:gd name="connsiteX0" fmla="*/ 66484 w 66484"/>
                    <a:gd name="connsiteY0" fmla="*/ 24765 h 49530"/>
                    <a:gd name="connsiteX1" fmla="*/ 33242 w 66484"/>
                    <a:gd name="connsiteY1" fmla="*/ 49530 h 49530"/>
                    <a:gd name="connsiteX2" fmla="*/ 0 w 66484"/>
                    <a:gd name="connsiteY2" fmla="*/ 24765 h 49530"/>
                    <a:gd name="connsiteX3" fmla="*/ 33242 w 66484"/>
                    <a:gd name="connsiteY3" fmla="*/ 0 h 49530"/>
                    <a:gd name="connsiteX4" fmla="*/ 66484 w 66484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30">
                      <a:moveTo>
                        <a:pt x="66484" y="24765"/>
                      </a:moveTo>
                      <a:cubicBezTo>
                        <a:pt x="66484" y="38442"/>
                        <a:pt x="51601" y="49530"/>
                        <a:pt x="33242" y="49530"/>
                      </a:cubicBezTo>
                      <a:cubicBezTo>
                        <a:pt x="14883" y="49530"/>
                        <a:pt x="0" y="38442"/>
                        <a:pt x="0" y="24765"/>
                      </a:cubicBezTo>
                      <a:cubicBezTo>
                        <a:pt x="0" y="11088"/>
                        <a:pt x="14883" y="0"/>
                        <a:pt x="33242" y="0"/>
                      </a:cubicBezTo>
                      <a:cubicBezTo>
                        <a:pt x="51601" y="0"/>
                        <a:pt x="66484" y="11088"/>
                        <a:pt x="66484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0" name="ísļîḑe"/>
                <p:cNvSpPr/>
                <p:nvPr/>
              </p:nvSpPr>
              <p:spPr>
                <a:xfrm>
                  <a:off x="5088272" y="3575799"/>
                  <a:ext cx="66484" cy="49530"/>
                </a:xfrm>
                <a:custGeom>
                  <a:avLst/>
                  <a:gdLst>
                    <a:gd name="connsiteX0" fmla="*/ 66485 w 66484"/>
                    <a:gd name="connsiteY0" fmla="*/ 24765 h 49530"/>
                    <a:gd name="connsiteX1" fmla="*/ 33242 w 66484"/>
                    <a:gd name="connsiteY1" fmla="*/ 49530 h 49530"/>
                    <a:gd name="connsiteX2" fmla="*/ 0 w 66484"/>
                    <a:gd name="connsiteY2" fmla="*/ 24765 h 49530"/>
                    <a:gd name="connsiteX3" fmla="*/ 33242 w 66484"/>
                    <a:gd name="connsiteY3" fmla="*/ 0 h 49530"/>
                    <a:gd name="connsiteX4" fmla="*/ 66485 w 66484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30">
                      <a:moveTo>
                        <a:pt x="66485" y="24765"/>
                      </a:moveTo>
                      <a:cubicBezTo>
                        <a:pt x="66485" y="38442"/>
                        <a:pt x="51601" y="49530"/>
                        <a:pt x="33242" y="49530"/>
                      </a:cubicBezTo>
                      <a:cubicBezTo>
                        <a:pt x="14883" y="49530"/>
                        <a:pt x="0" y="38442"/>
                        <a:pt x="0" y="24765"/>
                      </a:cubicBezTo>
                      <a:cubicBezTo>
                        <a:pt x="0" y="11088"/>
                        <a:pt x="14883" y="0"/>
                        <a:pt x="33242" y="0"/>
                      </a:cubicBezTo>
                      <a:cubicBezTo>
                        <a:pt x="51601" y="0"/>
                        <a:pt x="66485" y="11088"/>
                        <a:pt x="66485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íŝľîḓê"/>
                <p:cNvSpPr/>
                <p:nvPr/>
              </p:nvSpPr>
              <p:spPr>
                <a:xfrm>
                  <a:off x="4878150" y="3580752"/>
                  <a:ext cx="39624" cy="39623"/>
                </a:xfrm>
                <a:custGeom>
                  <a:avLst/>
                  <a:gdLst>
                    <a:gd name="connsiteX0" fmla="*/ 0 w 39624"/>
                    <a:gd name="connsiteY0" fmla="*/ 19812 h 39623"/>
                    <a:gd name="connsiteX1" fmla="*/ 19812 w 39624"/>
                    <a:gd name="connsiteY1" fmla="*/ 39624 h 39623"/>
                    <a:gd name="connsiteX2" fmla="*/ 39624 w 39624"/>
                    <a:gd name="connsiteY2" fmla="*/ 19812 h 39623"/>
                    <a:gd name="connsiteX3" fmla="*/ 19812 w 39624"/>
                    <a:gd name="connsiteY3" fmla="*/ 0 h 39623"/>
                    <a:gd name="connsiteX4" fmla="*/ 0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0" y="19812"/>
                      </a:moveTo>
                      <a:cubicBezTo>
                        <a:pt x="0" y="30766"/>
                        <a:pt x="8858" y="39624"/>
                        <a:pt x="19812" y="39624"/>
                      </a:cubicBezTo>
                      <a:cubicBezTo>
                        <a:pt x="30766" y="39624"/>
                        <a:pt x="39624" y="30766"/>
                        <a:pt x="39624" y="19812"/>
                      </a:cubicBezTo>
                      <a:cubicBezTo>
                        <a:pt x="39624" y="8858"/>
                        <a:pt x="30766" y="0"/>
                        <a:pt x="19812" y="0"/>
                      </a:cubicBezTo>
                      <a:cubicBezTo>
                        <a:pt x="8858" y="0"/>
                        <a:pt x="0" y="8858"/>
                        <a:pt x="0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2" name="íśļiḍé"/>
                <p:cNvSpPr/>
                <p:nvPr/>
              </p:nvSpPr>
              <p:spPr>
                <a:xfrm>
                  <a:off x="5112560" y="3580752"/>
                  <a:ext cx="39624" cy="39623"/>
                </a:xfrm>
                <a:custGeom>
                  <a:avLst/>
                  <a:gdLst>
                    <a:gd name="connsiteX0" fmla="*/ 0 w 39624"/>
                    <a:gd name="connsiteY0" fmla="*/ 19812 h 39623"/>
                    <a:gd name="connsiteX1" fmla="*/ 19812 w 39624"/>
                    <a:gd name="connsiteY1" fmla="*/ 39624 h 39623"/>
                    <a:gd name="connsiteX2" fmla="*/ 39624 w 39624"/>
                    <a:gd name="connsiteY2" fmla="*/ 19812 h 39623"/>
                    <a:gd name="connsiteX3" fmla="*/ 19812 w 39624"/>
                    <a:gd name="connsiteY3" fmla="*/ 0 h 39623"/>
                    <a:gd name="connsiteX4" fmla="*/ 0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0" y="19812"/>
                      </a:moveTo>
                      <a:cubicBezTo>
                        <a:pt x="0" y="30766"/>
                        <a:pt x="8858" y="39624"/>
                        <a:pt x="19812" y="39624"/>
                      </a:cubicBezTo>
                      <a:cubicBezTo>
                        <a:pt x="30766" y="39624"/>
                        <a:pt x="39624" y="30766"/>
                        <a:pt x="39624" y="19812"/>
                      </a:cubicBezTo>
                      <a:cubicBezTo>
                        <a:pt x="39624" y="8858"/>
                        <a:pt x="30766" y="0"/>
                        <a:pt x="19812" y="0"/>
                      </a:cubicBezTo>
                      <a:cubicBezTo>
                        <a:pt x="8858" y="0"/>
                        <a:pt x="0" y="8858"/>
                        <a:pt x="0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îšliḋè"/>
                <p:cNvSpPr/>
                <p:nvPr/>
              </p:nvSpPr>
              <p:spPr>
                <a:xfrm>
                  <a:off x="5002356" y="3617423"/>
                  <a:ext cx="46990" cy="131921"/>
                </a:xfrm>
                <a:custGeom>
                  <a:avLst/>
                  <a:gdLst>
                    <a:gd name="connsiteX0" fmla="*/ 0 w 46990"/>
                    <a:gd name="connsiteY0" fmla="*/ 0 h 131921"/>
                    <a:gd name="connsiteX1" fmla="*/ 0 w 46990"/>
                    <a:gd name="connsiteY1" fmla="*/ 131921 h 131921"/>
                    <a:gd name="connsiteX2" fmla="*/ 0 w 46990"/>
                    <a:gd name="connsiteY2" fmla="*/ 0 h 131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90" h="131921">
                      <a:moveTo>
                        <a:pt x="0" y="0"/>
                      </a:moveTo>
                      <a:lnTo>
                        <a:pt x="0" y="131921"/>
                      </a:lnTo>
                      <a:cubicBezTo>
                        <a:pt x="105728" y="13182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" name="ï$ļide"/>
                <p:cNvSpPr/>
                <p:nvPr/>
              </p:nvSpPr>
              <p:spPr>
                <a:xfrm>
                  <a:off x="4945301" y="3791255"/>
                  <a:ext cx="114109" cy="25357"/>
                </a:xfrm>
                <a:custGeom>
                  <a:avLst/>
                  <a:gdLst>
                    <a:gd name="connsiteX0" fmla="*/ 114109 w 114109"/>
                    <a:gd name="connsiteY0" fmla="*/ 0 h 25357"/>
                    <a:gd name="connsiteX1" fmla="*/ 0 w 114109"/>
                    <a:gd name="connsiteY1" fmla="*/ 0 h 25357"/>
                    <a:gd name="connsiteX2" fmla="*/ 114109 w 114109"/>
                    <a:gd name="connsiteY2" fmla="*/ 0 h 2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109" h="25357">
                      <a:moveTo>
                        <a:pt x="114109" y="0"/>
                      </a:moveTo>
                      <a:cubicBezTo>
                        <a:pt x="57055" y="57055"/>
                        <a:pt x="0" y="0"/>
                        <a:pt x="0" y="0"/>
                      </a:cubicBezTo>
                      <a:lnTo>
                        <a:pt x="11410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5" name="íś1iḓé"/>
                <p:cNvSpPr/>
                <p:nvPr/>
              </p:nvSpPr>
              <p:spPr>
                <a:xfrm>
                  <a:off x="4850623" y="355006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6" name="i$ḻiďe"/>
                <p:cNvSpPr/>
                <p:nvPr/>
              </p:nvSpPr>
              <p:spPr>
                <a:xfrm>
                  <a:off x="5085033" y="355006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7" name="ïsḷïḋê"/>
                <p:cNvSpPr/>
                <p:nvPr/>
              </p:nvSpPr>
              <p:spPr>
                <a:xfrm>
                  <a:off x="4770899" y="3650475"/>
                  <a:ext cx="140779" cy="140779"/>
                </a:xfrm>
                <a:custGeom>
                  <a:avLst/>
                  <a:gdLst>
                    <a:gd name="connsiteX0" fmla="*/ 140780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80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80" y="70390"/>
                      </a:moveTo>
                      <a:cubicBezTo>
                        <a:pt x="140780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5" y="0"/>
                        <a:pt x="70390" y="0"/>
                      </a:cubicBezTo>
                      <a:cubicBezTo>
                        <a:pt x="109265" y="0"/>
                        <a:pt x="140780" y="31515"/>
                        <a:pt x="140780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8" name="ï$1íḑê"/>
                <p:cNvSpPr/>
                <p:nvPr/>
              </p:nvSpPr>
              <p:spPr>
                <a:xfrm>
                  <a:off x="5101702" y="3650475"/>
                  <a:ext cx="121920" cy="140779"/>
                </a:xfrm>
                <a:custGeom>
                  <a:avLst/>
                  <a:gdLst>
                    <a:gd name="connsiteX0" fmla="*/ 70390 w 121920"/>
                    <a:gd name="connsiteY0" fmla="*/ 0 h 140779"/>
                    <a:gd name="connsiteX1" fmla="*/ 0 w 121920"/>
                    <a:gd name="connsiteY1" fmla="*/ 70390 h 140779"/>
                    <a:gd name="connsiteX2" fmla="*/ 70390 w 121920"/>
                    <a:gd name="connsiteY2" fmla="*/ 140779 h 140779"/>
                    <a:gd name="connsiteX3" fmla="*/ 107156 w 121920"/>
                    <a:gd name="connsiteY3" fmla="*/ 130207 h 140779"/>
                    <a:gd name="connsiteX4" fmla="*/ 121920 w 121920"/>
                    <a:gd name="connsiteY4" fmla="*/ 22574 h 140779"/>
                    <a:gd name="connsiteX5" fmla="*/ 70390 w 121920"/>
                    <a:gd name="connsiteY5" fmla="*/ 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1920" h="140779">
                      <a:moveTo>
                        <a:pt x="70390" y="0"/>
                      </a:moveTo>
                      <a:cubicBezTo>
                        <a:pt x="31528" y="0"/>
                        <a:pt x="0" y="31528"/>
                        <a:pt x="0" y="70390"/>
                      </a:cubicBezTo>
                      <a:cubicBezTo>
                        <a:pt x="0" y="109252"/>
                        <a:pt x="31528" y="140779"/>
                        <a:pt x="70390" y="140779"/>
                      </a:cubicBezTo>
                      <a:cubicBezTo>
                        <a:pt x="83915" y="140779"/>
                        <a:pt x="96393" y="136779"/>
                        <a:pt x="107156" y="130207"/>
                      </a:cubicBezTo>
                      <a:cubicBezTo>
                        <a:pt x="116014" y="98489"/>
                        <a:pt x="120968" y="62484"/>
                        <a:pt x="121920" y="22574"/>
                      </a:cubicBezTo>
                      <a:cubicBezTo>
                        <a:pt x="108966" y="8763"/>
                        <a:pt x="90773" y="0"/>
                        <a:pt x="70390" y="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" name="ïṡḷiďè"/>
              <p:cNvSpPr/>
              <p:nvPr/>
            </p:nvSpPr>
            <p:spPr>
              <a:xfrm>
                <a:off x="5023025" y="5158829"/>
                <a:ext cx="401734" cy="250437"/>
              </a:xfrm>
              <a:custGeom>
                <a:avLst/>
                <a:gdLst>
                  <a:gd name="connsiteX0" fmla="*/ 22098 w 401734"/>
                  <a:gd name="connsiteY0" fmla="*/ 74320 h 250437"/>
                  <a:gd name="connsiteX1" fmla="*/ 286703 w 401734"/>
                  <a:gd name="connsiteY1" fmla="*/ 7169 h 250437"/>
                  <a:gd name="connsiteX2" fmla="*/ 231267 w 401734"/>
                  <a:gd name="connsiteY2" fmla="*/ 62509 h 250437"/>
                  <a:gd name="connsiteX3" fmla="*/ 401669 w 401734"/>
                  <a:gd name="connsiteY3" fmla="*/ 83940 h 250437"/>
                  <a:gd name="connsiteX4" fmla="*/ 352616 w 401734"/>
                  <a:gd name="connsiteY4" fmla="*/ 115849 h 250437"/>
                  <a:gd name="connsiteX5" fmla="*/ 369951 w 401734"/>
                  <a:gd name="connsiteY5" fmla="*/ 135090 h 250437"/>
                  <a:gd name="connsiteX6" fmla="*/ 335471 w 401734"/>
                  <a:gd name="connsiteY6" fmla="*/ 159759 h 250437"/>
                  <a:gd name="connsiteX7" fmla="*/ 310229 w 401734"/>
                  <a:gd name="connsiteY7" fmla="*/ 194430 h 250437"/>
                  <a:gd name="connsiteX8" fmla="*/ 255270 w 401734"/>
                  <a:gd name="connsiteY8" fmla="*/ 235007 h 250437"/>
                  <a:gd name="connsiteX9" fmla="*/ 0 w 401734"/>
                  <a:gd name="connsiteY9" fmla="*/ 250437 h 2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1734" h="250437">
                    <a:moveTo>
                      <a:pt x="22098" y="74320"/>
                    </a:moveTo>
                    <a:cubicBezTo>
                      <a:pt x="22098" y="74320"/>
                      <a:pt x="259937" y="-27407"/>
                      <a:pt x="286703" y="7169"/>
                    </a:cubicBezTo>
                    <a:cubicBezTo>
                      <a:pt x="313563" y="41745"/>
                      <a:pt x="231267" y="62509"/>
                      <a:pt x="231267" y="62509"/>
                    </a:cubicBezTo>
                    <a:cubicBezTo>
                      <a:pt x="231267" y="62509"/>
                      <a:pt x="405574" y="53175"/>
                      <a:pt x="401669" y="83940"/>
                    </a:cubicBezTo>
                    <a:cubicBezTo>
                      <a:pt x="397859" y="114611"/>
                      <a:pt x="352616" y="115849"/>
                      <a:pt x="352616" y="115849"/>
                    </a:cubicBezTo>
                    <a:cubicBezTo>
                      <a:pt x="352616" y="115849"/>
                      <a:pt x="371951" y="119183"/>
                      <a:pt x="369951" y="135090"/>
                    </a:cubicBezTo>
                    <a:cubicBezTo>
                      <a:pt x="367951" y="150901"/>
                      <a:pt x="335947" y="155759"/>
                      <a:pt x="335471" y="159759"/>
                    </a:cubicBezTo>
                    <a:cubicBezTo>
                      <a:pt x="365665" y="169189"/>
                      <a:pt x="347472" y="199098"/>
                      <a:pt x="310229" y="194430"/>
                    </a:cubicBezTo>
                    <a:cubicBezTo>
                      <a:pt x="339757" y="215862"/>
                      <a:pt x="309563" y="232149"/>
                      <a:pt x="255270" y="235007"/>
                    </a:cubicBezTo>
                    <a:cubicBezTo>
                      <a:pt x="200978" y="237864"/>
                      <a:pt x="0" y="250437"/>
                      <a:pt x="0" y="250437"/>
                    </a:cubicBezTo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îṡļíḋè"/>
              <p:cNvSpPr/>
              <p:nvPr/>
            </p:nvSpPr>
            <p:spPr>
              <a:xfrm>
                <a:off x="5363151" y="4868778"/>
                <a:ext cx="375147" cy="265220"/>
              </a:xfrm>
              <a:custGeom>
                <a:avLst/>
                <a:gdLst>
                  <a:gd name="connsiteX0" fmla="*/ 12 w 375147"/>
                  <a:gd name="connsiteY0" fmla="*/ 62619 h 265220"/>
                  <a:gd name="connsiteX1" fmla="*/ 171748 w 375147"/>
                  <a:gd name="connsiteY1" fmla="*/ 67477 h 265220"/>
                  <a:gd name="connsiteX2" fmla="*/ 125457 w 375147"/>
                  <a:gd name="connsiteY2" fmla="*/ 4326 h 265220"/>
                  <a:gd name="connsiteX3" fmla="*/ 325576 w 375147"/>
                  <a:gd name="connsiteY3" fmla="*/ 80622 h 265220"/>
                  <a:gd name="connsiteX4" fmla="*/ 375107 w 375147"/>
                  <a:gd name="connsiteY4" fmla="*/ 169109 h 265220"/>
                  <a:gd name="connsiteX5" fmla="*/ 375107 w 375147"/>
                  <a:gd name="connsiteY5" fmla="*/ 169109 h 265220"/>
                  <a:gd name="connsiteX6" fmla="*/ 255282 w 375147"/>
                  <a:gd name="connsiteY6" fmla="*/ 262930 h 265220"/>
                  <a:gd name="connsiteX7" fmla="*/ 121742 w 375147"/>
                  <a:gd name="connsiteY7" fmla="*/ 234165 h 265220"/>
                  <a:gd name="connsiteX8" fmla="*/ 73545 w 375147"/>
                  <a:gd name="connsiteY8" fmla="*/ 185682 h 265220"/>
                  <a:gd name="connsiteX9" fmla="*/ 53828 w 375147"/>
                  <a:gd name="connsiteY9" fmla="*/ 147582 h 265220"/>
                  <a:gd name="connsiteX10" fmla="*/ 23539 w 375147"/>
                  <a:gd name="connsiteY10" fmla="*/ 117960 h 265220"/>
                  <a:gd name="connsiteX11" fmla="*/ 43541 w 375147"/>
                  <a:gd name="connsiteY11" fmla="*/ 101672 h 265220"/>
                  <a:gd name="connsiteX12" fmla="*/ 12 w 375147"/>
                  <a:gd name="connsiteY12" fmla="*/ 62619 h 26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147" h="265220">
                    <a:moveTo>
                      <a:pt x="12" y="62619"/>
                    </a:moveTo>
                    <a:cubicBezTo>
                      <a:pt x="869" y="31758"/>
                      <a:pt x="171748" y="67477"/>
                      <a:pt x="171748" y="67477"/>
                    </a:cubicBezTo>
                    <a:cubicBezTo>
                      <a:pt x="171748" y="67477"/>
                      <a:pt x="93643" y="34330"/>
                      <a:pt x="125457" y="4326"/>
                    </a:cubicBezTo>
                    <a:cubicBezTo>
                      <a:pt x="147364" y="-16438"/>
                      <a:pt x="258711" y="42236"/>
                      <a:pt x="325576" y="80622"/>
                    </a:cubicBezTo>
                    <a:cubicBezTo>
                      <a:pt x="357199" y="98719"/>
                      <a:pt x="376155" y="132723"/>
                      <a:pt x="375107" y="169109"/>
                    </a:cubicBezTo>
                    <a:lnTo>
                      <a:pt x="375107" y="169109"/>
                    </a:lnTo>
                    <a:cubicBezTo>
                      <a:pt x="373392" y="231021"/>
                      <a:pt x="315861" y="276075"/>
                      <a:pt x="255282" y="262930"/>
                    </a:cubicBezTo>
                    <a:cubicBezTo>
                      <a:pt x="202609" y="251500"/>
                      <a:pt x="146602" y="239308"/>
                      <a:pt x="121742" y="234165"/>
                    </a:cubicBezTo>
                    <a:cubicBezTo>
                      <a:pt x="68497" y="223116"/>
                      <a:pt x="41160" y="202351"/>
                      <a:pt x="73545" y="185682"/>
                    </a:cubicBezTo>
                    <a:cubicBezTo>
                      <a:pt x="36017" y="184635"/>
                      <a:pt x="22586" y="152250"/>
                      <a:pt x="53828" y="147582"/>
                    </a:cubicBezTo>
                    <a:cubicBezTo>
                      <a:pt x="53924" y="143582"/>
                      <a:pt x="23063" y="133962"/>
                      <a:pt x="23539" y="117960"/>
                    </a:cubicBezTo>
                    <a:cubicBezTo>
                      <a:pt x="24015" y="101958"/>
                      <a:pt x="43541" y="101672"/>
                      <a:pt x="43541" y="101672"/>
                    </a:cubicBezTo>
                    <a:cubicBezTo>
                      <a:pt x="43541" y="101672"/>
                      <a:pt x="-845" y="93480"/>
                      <a:pt x="12" y="62619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î$ľïďe"/>
              <p:cNvSpPr/>
              <p:nvPr/>
            </p:nvSpPr>
            <p:spPr>
              <a:xfrm>
                <a:off x="4822261" y="4068242"/>
                <a:ext cx="309657" cy="377570"/>
              </a:xfrm>
              <a:custGeom>
                <a:avLst/>
                <a:gdLst>
                  <a:gd name="connsiteX0" fmla="*/ 9978 w 309657"/>
                  <a:gd name="connsiteY0" fmla="*/ 0 h 377570"/>
                  <a:gd name="connsiteX1" fmla="*/ 152853 w 309657"/>
                  <a:gd name="connsiteY1" fmla="*/ 147066 h 377570"/>
                  <a:gd name="connsiteX2" fmla="*/ 299253 w 309657"/>
                  <a:gd name="connsiteY2" fmla="*/ 0 h 377570"/>
                  <a:gd name="connsiteX3" fmla="*/ 152853 w 309657"/>
                  <a:gd name="connsiteY3" fmla="*/ 377571 h 377570"/>
                  <a:gd name="connsiteX4" fmla="*/ 9978 w 309657"/>
                  <a:gd name="connsiteY4" fmla="*/ 0 h 37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57" h="377570">
                    <a:moveTo>
                      <a:pt x="9978" y="0"/>
                    </a:moveTo>
                    <a:cubicBezTo>
                      <a:pt x="9978" y="0"/>
                      <a:pt x="44649" y="147066"/>
                      <a:pt x="152853" y="147066"/>
                    </a:cubicBezTo>
                    <a:cubicBezTo>
                      <a:pt x="261057" y="147066"/>
                      <a:pt x="299253" y="0"/>
                      <a:pt x="299253" y="0"/>
                    </a:cubicBezTo>
                    <a:cubicBezTo>
                      <a:pt x="299253" y="0"/>
                      <a:pt x="367832" y="162592"/>
                      <a:pt x="152853" y="377571"/>
                    </a:cubicBezTo>
                    <a:cubicBezTo>
                      <a:pt x="-56316" y="164592"/>
                      <a:pt x="9978" y="0"/>
                      <a:pt x="9978" y="0"/>
                    </a:cubicBez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ïṩḻiḋe"/>
              <p:cNvSpPr/>
              <p:nvPr/>
            </p:nvSpPr>
            <p:spPr>
              <a:xfrm>
                <a:off x="4516581" y="5904376"/>
                <a:ext cx="283368" cy="283654"/>
              </a:xfrm>
              <a:custGeom>
                <a:avLst/>
                <a:gdLst>
                  <a:gd name="connsiteX0" fmla="*/ 0 w 283368"/>
                  <a:gd name="connsiteY0" fmla="*/ 212503 h 283654"/>
                  <a:gd name="connsiteX1" fmla="*/ 212598 w 283368"/>
                  <a:gd name="connsiteY1" fmla="*/ 0 h 283654"/>
                  <a:gd name="connsiteX2" fmla="*/ 283369 w 283368"/>
                  <a:gd name="connsiteY2" fmla="*/ 70771 h 283654"/>
                  <a:gd name="connsiteX3" fmla="*/ 70485 w 283368"/>
                  <a:gd name="connsiteY3" fmla="*/ 283655 h 28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368" h="283654">
                    <a:moveTo>
                      <a:pt x="0" y="212503"/>
                    </a:moveTo>
                    <a:lnTo>
                      <a:pt x="212598" y="0"/>
                    </a:lnTo>
                    <a:lnTo>
                      <a:pt x="283369" y="70771"/>
                    </a:lnTo>
                    <a:lnTo>
                      <a:pt x="70485" y="283655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ïş1ïḋê"/>
              <p:cNvSpPr/>
              <p:nvPr/>
            </p:nvSpPr>
            <p:spPr>
              <a:xfrm>
                <a:off x="5305822" y="5904376"/>
                <a:ext cx="283464" cy="283654"/>
              </a:xfrm>
              <a:custGeom>
                <a:avLst/>
                <a:gdLst>
                  <a:gd name="connsiteX0" fmla="*/ 283464 w 283464"/>
                  <a:gd name="connsiteY0" fmla="*/ 212503 h 283654"/>
                  <a:gd name="connsiteX1" fmla="*/ 70866 w 283464"/>
                  <a:gd name="connsiteY1" fmla="*/ 0 h 283654"/>
                  <a:gd name="connsiteX2" fmla="*/ 0 w 283464"/>
                  <a:gd name="connsiteY2" fmla="*/ 70771 h 283654"/>
                  <a:gd name="connsiteX3" fmla="*/ 212884 w 283464"/>
                  <a:gd name="connsiteY3" fmla="*/ 283655 h 28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464" h="283654">
                    <a:moveTo>
                      <a:pt x="283464" y="212503"/>
                    </a:moveTo>
                    <a:lnTo>
                      <a:pt x="70866" y="0"/>
                    </a:lnTo>
                    <a:lnTo>
                      <a:pt x="0" y="70771"/>
                    </a:lnTo>
                    <a:lnTo>
                      <a:pt x="212884" y="283655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ïSḷíḋè"/>
              <p:cNvSpPr/>
              <p:nvPr/>
            </p:nvSpPr>
            <p:spPr>
              <a:xfrm>
                <a:off x="4516581" y="5904376"/>
                <a:ext cx="212597" cy="212502"/>
              </a:xfrm>
              <a:custGeom>
                <a:avLst/>
                <a:gdLst>
                  <a:gd name="connsiteX0" fmla="*/ 0 w 212597"/>
                  <a:gd name="connsiteY0" fmla="*/ 212503 h 212502"/>
                  <a:gd name="connsiteX1" fmla="*/ 212598 w 212597"/>
                  <a:gd name="connsiteY1" fmla="*/ 0 h 21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97" h="212502">
                    <a:moveTo>
                      <a:pt x="0" y="212503"/>
                    </a:moveTo>
                    <a:lnTo>
                      <a:pt x="212598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ïsľîḑé"/>
              <p:cNvSpPr/>
              <p:nvPr/>
            </p:nvSpPr>
            <p:spPr>
              <a:xfrm>
                <a:off x="5376689" y="5904376"/>
                <a:ext cx="212597" cy="212502"/>
              </a:xfrm>
              <a:custGeom>
                <a:avLst/>
                <a:gdLst>
                  <a:gd name="connsiteX0" fmla="*/ 0 w 212597"/>
                  <a:gd name="connsiteY0" fmla="*/ 0 h 212502"/>
                  <a:gd name="connsiteX1" fmla="*/ 212598 w 212597"/>
                  <a:gd name="connsiteY1" fmla="*/ 212503 h 21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97" h="212502">
                    <a:moveTo>
                      <a:pt x="0" y="0"/>
                    </a:moveTo>
                    <a:lnTo>
                      <a:pt x="212598" y="212503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îṥḻiḋe"/>
              <p:cNvSpPr/>
              <p:nvPr/>
            </p:nvSpPr>
            <p:spPr>
              <a:xfrm>
                <a:off x="4741787" y="3562446"/>
                <a:ext cx="481835" cy="395305"/>
              </a:xfrm>
              <a:custGeom>
                <a:avLst/>
                <a:gdLst>
                  <a:gd name="connsiteX0" fmla="*/ 465262 w 481835"/>
                  <a:gd name="connsiteY0" fmla="*/ 226618 h 395305"/>
                  <a:gd name="connsiteX1" fmla="*/ 419732 w 481835"/>
                  <a:gd name="connsiteY1" fmla="*/ 129368 h 395305"/>
                  <a:gd name="connsiteX2" fmla="*/ 481835 w 481835"/>
                  <a:gd name="connsiteY2" fmla="*/ 21354 h 395305"/>
                  <a:gd name="connsiteX3" fmla="*/ 481645 w 481835"/>
                  <a:gd name="connsiteY3" fmla="*/ 2400 h 395305"/>
                  <a:gd name="connsiteX4" fmla="*/ 411922 w 481835"/>
                  <a:gd name="connsiteY4" fmla="*/ 123653 h 395305"/>
                  <a:gd name="connsiteX5" fmla="*/ 245329 w 481835"/>
                  <a:gd name="connsiteY5" fmla="*/ 123653 h 395305"/>
                  <a:gd name="connsiteX6" fmla="*/ 78737 w 481835"/>
                  <a:gd name="connsiteY6" fmla="*/ 123653 h 395305"/>
                  <a:gd name="connsiteX7" fmla="*/ 9014 w 481835"/>
                  <a:gd name="connsiteY7" fmla="*/ 2400 h 395305"/>
                  <a:gd name="connsiteX8" fmla="*/ 2442 w 481835"/>
                  <a:gd name="connsiteY8" fmla="*/ 590 h 395305"/>
                  <a:gd name="connsiteX9" fmla="*/ 632 w 481835"/>
                  <a:gd name="connsiteY9" fmla="*/ 7162 h 395305"/>
                  <a:gd name="connsiteX10" fmla="*/ 70927 w 481835"/>
                  <a:gd name="connsiteY10" fmla="*/ 129368 h 395305"/>
                  <a:gd name="connsiteX11" fmla="*/ 25397 w 481835"/>
                  <a:gd name="connsiteY11" fmla="*/ 226618 h 395305"/>
                  <a:gd name="connsiteX12" fmla="*/ 14634 w 481835"/>
                  <a:gd name="connsiteY12" fmla="*/ 181470 h 395305"/>
                  <a:gd name="connsiteX13" fmla="*/ 4537 w 481835"/>
                  <a:gd name="connsiteY13" fmla="*/ 179469 h 395305"/>
                  <a:gd name="connsiteX14" fmla="*/ 22540 w 481835"/>
                  <a:gd name="connsiteY14" fmla="*/ 245287 h 395305"/>
                  <a:gd name="connsiteX15" fmla="*/ 245329 w 481835"/>
                  <a:gd name="connsiteY15" fmla="*/ 395306 h 395305"/>
                  <a:gd name="connsiteX16" fmla="*/ 464880 w 481835"/>
                  <a:gd name="connsiteY16" fmla="*/ 241477 h 395305"/>
                  <a:gd name="connsiteX17" fmla="*/ 480502 w 481835"/>
                  <a:gd name="connsiteY17" fmla="*/ 150418 h 395305"/>
                  <a:gd name="connsiteX18" fmla="*/ 465262 w 481835"/>
                  <a:gd name="connsiteY18" fmla="*/ 226618 h 395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1835" h="395305">
                    <a:moveTo>
                      <a:pt x="465262" y="226618"/>
                    </a:moveTo>
                    <a:cubicBezTo>
                      <a:pt x="437544" y="185565"/>
                      <a:pt x="424018" y="144227"/>
                      <a:pt x="419732" y="129368"/>
                    </a:cubicBezTo>
                    <a:lnTo>
                      <a:pt x="481835" y="21354"/>
                    </a:lnTo>
                    <a:lnTo>
                      <a:pt x="481645" y="2400"/>
                    </a:lnTo>
                    <a:lnTo>
                      <a:pt x="411922" y="123653"/>
                    </a:lnTo>
                    <a:lnTo>
                      <a:pt x="245329" y="123653"/>
                    </a:lnTo>
                    <a:lnTo>
                      <a:pt x="78737" y="123653"/>
                    </a:lnTo>
                    <a:lnTo>
                      <a:pt x="9014" y="2400"/>
                    </a:lnTo>
                    <a:cubicBezTo>
                      <a:pt x="7680" y="114"/>
                      <a:pt x="4728" y="-648"/>
                      <a:pt x="2442" y="590"/>
                    </a:cubicBezTo>
                    <a:cubicBezTo>
                      <a:pt x="156" y="1923"/>
                      <a:pt x="-701" y="4876"/>
                      <a:pt x="632" y="7162"/>
                    </a:cubicBezTo>
                    <a:lnTo>
                      <a:pt x="70927" y="129368"/>
                    </a:lnTo>
                    <a:cubicBezTo>
                      <a:pt x="66640" y="144227"/>
                      <a:pt x="53115" y="185565"/>
                      <a:pt x="25397" y="226618"/>
                    </a:cubicBezTo>
                    <a:cubicBezTo>
                      <a:pt x="22349" y="217188"/>
                      <a:pt x="18253" y="202234"/>
                      <a:pt x="14634" y="181470"/>
                    </a:cubicBezTo>
                    <a:lnTo>
                      <a:pt x="4537" y="179469"/>
                    </a:lnTo>
                    <a:cubicBezTo>
                      <a:pt x="11872" y="223094"/>
                      <a:pt x="17301" y="231952"/>
                      <a:pt x="22540" y="245287"/>
                    </a:cubicBezTo>
                    <a:cubicBezTo>
                      <a:pt x="57782" y="334155"/>
                      <a:pt x="143793" y="395306"/>
                      <a:pt x="245329" y="395306"/>
                    </a:cubicBezTo>
                    <a:cubicBezTo>
                      <a:pt x="346771" y="395306"/>
                      <a:pt x="430400" y="341204"/>
                      <a:pt x="464880" y="241477"/>
                    </a:cubicBezTo>
                    <a:cubicBezTo>
                      <a:pt x="472596" y="219284"/>
                      <a:pt x="482311" y="150609"/>
                      <a:pt x="480502" y="150418"/>
                    </a:cubicBezTo>
                    <a:cubicBezTo>
                      <a:pt x="476215" y="188232"/>
                      <a:pt x="469738" y="212997"/>
                      <a:pt x="465262" y="226618"/>
                    </a:cubicBez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4" name="íşľiḑe"/>
              <p:cNvSpPr/>
              <p:nvPr/>
            </p:nvSpPr>
            <p:spPr>
              <a:xfrm>
                <a:off x="4665934" y="3153106"/>
                <a:ext cx="672820" cy="462492"/>
              </a:xfrm>
              <a:custGeom>
                <a:avLst/>
                <a:gdLst>
                  <a:gd name="connsiteX0" fmla="*/ 17716 w 672820"/>
                  <a:gd name="connsiteY0" fmla="*/ 417740 h 462492"/>
                  <a:gd name="connsiteX1" fmla="*/ 73532 w 672820"/>
                  <a:gd name="connsiteY1" fmla="*/ 462412 h 462492"/>
                  <a:gd name="connsiteX2" fmla="*/ 100774 w 672820"/>
                  <a:gd name="connsiteY2" fmla="*/ 450506 h 462492"/>
                  <a:gd name="connsiteX3" fmla="*/ 325469 w 672820"/>
                  <a:gd name="connsiteY3" fmla="*/ 231240 h 462492"/>
                  <a:gd name="connsiteX4" fmla="*/ 565975 w 672820"/>
                  <a:gd name="connsiteY4" fmla="*/ 353065 h 462492"/>
                  <a:gd name="connsiteX5" fmla="*/ 590930 w 672820"/>
                  <a:gd name="connsiteY5" fmla="*/ 231526 h 462492"/>
                  <a:gd name="connsiteX6" fmla="*/ 670845 w 672820"/>
                  <a:gd name="connsiteY6" fmla="*/ 206571 h 462492"/>
                  <a:gd name="connsiteX7" fmla="*/ 610933 w 672820"/>
                  <a:gd name="connsiteY7" fmla="*/ 129990 h 462492"/>
                  <a:gd name="connsiteX8" fmla="*/ 660844 w 672820"/>
                  <a:gd name="connsiteY8" fmla="*/ 51789 h 462492"/>
                  <a:gd name="connsiteX9" fmla="*/ 553878 w 672820"/>
                  <a:gd name="connsiteY9" fmla="*/ 20166 h 462492"/>
                  <a:gd name="connsiteX10" fmla="*/ 253555 w 672820"/>
                  <a:gd name="connsiteY10" fmla="*/ 35121 h 462492"/>
                  <a:gd name="connsiteX11" fmla="*/ 17716 w 672820"/>
                  <a:gd name="connsiteY11" fmla="*/ 417740 h 46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2820" h="462492">
                    <a:moveTo>
                      <a:pt x="17716" y="417740"/>
                    </a:moveTo>
                    <a:cubicBezTo>
                      <a:pt x="24097" y="443553"/>
                      <a:pt x="46957" y="463936"/>
                      <a:pt x="73532" y="462412"/>
                    </a:cubicBezTo>
                    <a:cubicBezTo>
                      <a:pt x="83057" y="461841"/>
                      <a:pt x="92678" y="458602"/>
                      <a:pt x="100774" y="450506"/>
                    </a:cubicBezTo>
                    <a:cubicBezTo>
                      <a:pt x="129158" y="422121"/>
                      <a:pt x="94106" y="206285"/>
                      <a:pt x="325469" y="231240"/>
                    </a:cubicBezTo>
                    <a:cubicBezTo>
                      <a:pt x="556831" y="256196"/>
                      <a:pt x="487774" y="368019"/>
                      <a:pt x="565975" y="353065"/>
                    </a:cubicBezTo>
                    <a:cubicBezTo>
                      <a:pt x="644175" y="338111"/>
                      <a:pt x="590930" y="231526"/>
                      <a:pt x="590930" y="231526"/>
                    </a:cubicBezTo>
                    <a:cubicBezTo>
                      <a:pt x="590930" y="231526"/>
                      <a:pt x="655891" y="258196"/>
                      <a:pt x="670845" y="206571"/>
                    </a:cubicBezTo>
                    <a:cubicBezTo>
                      <a:pt x="685799" y="154945"/>
                      <a:pt x="610933" y="129990"/>
                      <a:pt x="610933" y="129990"/>
                    </a:cubicBezTo>
                    <a:cubicBezTo>
                      <a:pt x="610933" y="129990"/>
                      <a:pt x="672560" y="108368"/>
                      <a:pt x="660844" y="51789"/>
                    </a:cubicBezTo>
                    <a:cubicBezTo>
                      <a:pt x="649223" y="-4789"/>
                      <a:pt x="588549" y="-14505"/>
                      <a:pt x="553878" y="20166"/>
                    </a:cubicBezTo>
                    <a:cubicBezTo>
                      <a:pt x="519207" y="54837"/>
                      <a:pt x="348900" y="55123"/>
                      <a:pt x="253555" y="35121"/>
                    </a:cubicBezTo>
                    <a:cubicBezTo>
                      <a:pt x="160877" y="15785"/>
                      <a:pt x="-64485" y="87603"/>
                      <a:pt x="17716" y="417740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48" name="图形 278"/>
            <p:cNvGrpSpPr/>
            <p:nvPr userDrawn="1"/>
          </p:nvGrpSpPr>
          <p:grpSpPr>
            <a:xfrm rot="21306450">
              <a:off x="2862710" y="639906"/>
              <a:ext cx="2010997" cy="5287322"/>
              <a:chOff x="2454419" y="3140768"/>
              <a:chExt cx="1574030" cy="4138446"/>
            </a:xfrm>
            <a:solidFill>
              <a:schemeClr val="accent1"/>
            </a:solidFill>
          </p:grpSpPr>
          <p:sp>
            <p:nvSpPr>
              <p:cNvPr id="49" name="ïš1îḋê"/>
              <p:cNvSpPr/>
              <p:nvPr/>
            </p:nvSpPr>
            <p:spPr>
              <a:xfrm>
                <a:off x="2894493" y="3249636"/>
                <a:ext cx="829832" cy="709379"/>
              </a:xfrm>
              <a:custGeom>
                <a:avLst/>
                <a:gdLst>
                  <a:gd name="connsiteX0" fmla="*/ 565861 w 829832"/>
                  <a:gd name="connsiteY0" fmla="*/ 10314 h 709379"/>
                  <a:gd name="connsiteX1" fmla="*/ 431463 w 829832"/>
                  <a:gd name="connsiteY1" fmla="*/ 4028 h 709379"/>
                  <a:gd name="connsiteX2" fmla="*/ 134379 w 829832"/>
                  <a:gd name="connsiteY2" fmla="*/ 193290 h 709379"/>
                  <a:gd name="connsiteX3" fmla="*/ 49892 w 829832"/>
                  <a:gd name="connsiteY3" fmla="*/ 317591 h 709379"/>
                  <a:gd name="connsiteX4" fmla="*/ 198672 w 829832"/>
                  <a:gd name="connsiteY4" fmla="*/ 673255 h 709379"/>
                  <a:gd name="connsiteX5" fmla="*/ 570147 w 829832"/>
                  <a:gd name="connsiteY5" fmla="*/ 708307 h 709379"/>
                  <a:gd name="connsiteX6" fmla="*/ 829704 w 829832"/>
                  <a:gd name="connsiteY6" fmla="*/ 467229 h 709379"/>
                  <a:gd name="connsiteX7" fmla="*/ 565861 w 829832"/>
                  <a:gd name="connsiteY7" fmla="*/ 10314 h 70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9832" h="709379">
                    <a:moveTo>
                      <a:pt x="565861" y="10314"/>
                    </a:moveTo>
                    <a:cubicBezTo>
                      <a:pt x="522141" y="-1497"/>
                      <a:pt x="476326" y="-2544"/>
                      <a:pt x="431463" y="4028"/>
                    </a:cubicBezTo>
                    <a:cubicBezTo>
                      <a:pt x="346691" y="16506"/>
                      <a:pt x="203530" y="57749"/>
                      <a:pt x="134379" y="193290"/>
                    </a:cubicBezTo>
                    <a:cubicBezTo>
                      <a:pt x="109709" y="241677"/>
                      <a:pt x="79514" y="281777"/>
                      <a:pt x="49892" y="317591"/>
                    </a:cubicBezTo>
                    <a:cubicBezTo>
                      <a:pt x="-61455" y="452275"/>
                      <a:pt x="24650" y="656776"/>
                      <a:pt x="198672" y="673255"/>
                    </a:cubicBezTo>
                    <a:lnTo>
                      <a:pt x="570147" y="708307"/>
                    </a:lnTo>
                    <a:cubicBezTo>
                      <a:pt x="711308" y="721642"/>
                      <a:pt x="834371" y="608961"/>
                      <a:pt x="829704" y="467229"/>
                    </a:cubicBezTo>
                    <a:cubicBezTo>
                      <a:pt x="823703" y="285111"/>
                      <a:pt x="771506" y="65845"/>
                      <a:pt x="565861" y="10314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0" name="íŝ1ïḍe"/>
              <p:cNvSpPr/>
              <p:nvPr/>
            </p:nvSpPr>
            <p:spPr>
              <a:xfrm>
                <a:off x="2528142" y="4085492"/>
                <a:ext cx="1202781" cy="3193722"/>
              </a:xfrm>
              <a:custGeom>
                <a:avLst/>
                <a:gdLst>
                  <a:gd name="connsiteX0" fmla="*/ 1184339 w 1202781"/>
                  <a:gd name="connsiteY0" fmla="*/ 3193723 h 3193722"/>
                  <a:gd name="connsiteX1" fmla="*/ 1184053 w 1202781"/>
                  <a:gd name="connsiteY1" fmla="*/ 818569 h 3193722"/>
                  <a:gd name="connsiteX2" fmla="*/ 823055 w 1202781"/>
                  <a:gd name="connsiteY2" fmla="*/ 3610 h 3193722"/>
                  <a:gd name="connsiteX3" fmla="*/ 343948 w 1202781"/>
                  <a:gd name="connsiteY3" fmla="*/ 418519 h 3193722"/>
                  <a:gd name="connsiteX4" fmla="*/ 0 w 1202781"/>
                  <a:gd name="connsiteY4" fmla="*/ 3095234 h 3193722"/>
                  <a:gd name="connsiteX5" fmla="*/ 1184339 w 1202781"/>
                  <a:gd name="connsiteY5" fmla="*/ 3193723 h 3193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2781" h="3193722">
                    <a:moveTo>
                      <a:pt x="1184339" y="3193723"/>
                    </a:moveTo>
                    <a:lnTo>
                      <a:pt x="1184053" y="818569"/>
                    </a:lnTo>
                    <a:cubicBezTo>
                      <a:pt x="1194054" y="698173"/>
                      <a:pt x="1308449" y="43996"/>
                      <a:pt x="823055" y="3610"/>
                    </a:cubicBezTo>
                    <a:cubicBezTo>
                      <a:pt x="540925" y="-19917"/>
                      <a:pt x="361093" y="66284"/>
                      <a:pt x="343948" y="418519"/>
                    </a:cubicBezTo>
                    <a:cubicBezTo>
                      <a:pt x="324803" y="814283"/>
                      <a:pt x="0" y="3095234"/>
                      <a:pt x="0" y="3095234"/>
                    </a:cubicBezTo>
                    <a:lnTo>
                      <a:pt x="1184339" y="3193723"/>
                    </a:ln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1" name="图形 278"/>
              <p:cNvGrpSpPr/>
              <p:nvPr/>
            </p:nvGrpSpPr>
            <p:grpSpPr>
              <a:xfrm>
                <a:off x="3110292" y="4041877"/>
                <a:ext cx="444737" cy="874922"/>
                <a:chOff x="3110292" y="4041877"/>
                <a:chExt cx="444737" cy="874922"/>
              </a:xfrm>
              <a:solidFill>
                <a:schemeClr val="accent1"/>
              </a:solidFill>
            </p:grpSpPr>
            <p:sp>
              <p:nvSpPr>
                <p:cNvPr id="89" name="îṩḻiďé"/>
                <p:cNvSpPr/>
                <p:nvPr/>
              </p:nvSpPr>
              <p:spPr>
                <a:xfrm>
                  <a:off x="3110292" y="4041877"/>
                  <a:ext cx="444737" cy="697019"/>
                </a:xfrm>
                <a:custGeom>
                  <a:avLst/>
                  <a:gdLst>
                    <a:gd name="connsiteX0" fmla="*/ 237953 w 444737"/>
                    <a:gd name="connsiteY0" fmla="*/ 171 h 697019"/>
                    <a:gd name="connsiteX1" fmla="*/ 237953 w 444737"/>
                    <a:gd name="connsiteY1" fmla="*/ 171 h 697019"/>
                    <a:gd name="connsiteX2" fmla="*/ 971 w 444737"/>
                    <a:gd name="connsiteY2" fmla="*/ 182670 h 697019"/>
                    <a:gd name="connsiteX3" fmla="*/ 182327 w 444737"/>
                    <a:gd name="connsiteY3" fmla="*/ 697020 h 697019"/>
                    <a:gd name="connsiteX4" fmla="*/ 443883 w 444737"/>
                    <a:gd name="connsiteY4" fmla="*/ 219532 h 697019"/>
                    <a:gd name="connsiteX5" fmla="*/ 237953 w 444737"/>
                    <a:gd name="connsiteY5" fmla="*/ 171 h 6970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737" h="697019">
                      <a:moveTo>
                        <a:pt x="237953" y="171"/>
                      </a:moveTo>
                      <a:lnTo>
                        <a:pt x="237953" y="171"/>
                      </a:lnTo>
                      <a:cubicBezTo>
                        <a:pt x="214712" y="-782"/>
                        <a:pt x="16497" y="-3830"/>
                        <a:pt x="971" y="182670"/>
                      </a:cubicBezTo>
                      <a:cubicBezTo>
                        <a:pt x="-14555" y="368979"/>
                        <a:pt x="160991" y="667874"/>
                        <a:pt x="182327" y="697020"/>
                      </a:cubicBezTo>
                      <a:cubicBezTo>
                        <a:pt x="208235" y="671779"/>
                        <a:pt x="428357" y="405745"/>
                        <a:pt x="443883" y="219532"/>
                      </a:cubicBezTo>
                      <a:cubicBezTo>
                        <a:pt x="459314" y="33032"/>
                        <a:pt x="261003" y="3028"/>
                        <a:pt x="237953" y="171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ïsḷíḑê"/>
                <p:cNvSpPr/>
                <p:nvPr/>
              </p:nvSpPr>
              <p:spPr>
                <a:xfrm rot="285305">
                  <a:off x="3160023" y="4758777"/>
                  <a:ext cx="247374" cy="148024"/>
                </a:xfrm>
                <a:custGeom>
                  <a:avLst/>
                  <a:gdLst>
                    <a:gd name="connsiteX0" fmla="*/ 0 w 247374"/>
                    <a:gd name="connsiteY0" fmla="*/ 0 h 148024"/>
                    <a:gd name="connsiteX1" fmla="*/ 247375 w 247374"/>
                    <a:gd name="connsiteY1" fmla="*/ 0 h 148024"/>
                    <a:gd name="connsiteX2" fmla="*/ 247375 w 247374"/>
                    <a:gd name="connsiteY2" fmla="*/ 148025 h 148024"/>
                    <a:gd name="connsiteX3" fmla="*/ 0 w 247374"/>
                    <a:gd name="connsiteY3" fmla="*/ 148025 h 148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74" h="148024">
                      <a:moveTo>
                        <a:pt x="0" y="0"/>
                      </a:moveTo>
                      <a:lnTo>
                        <a:pt x="247375" y="0"/>
                      </a:lnTo>
                      <a:lnTo>
                        <a:pt x="247375" y="148025"/>
                      </a:lnTo>
                      <a:lnTo>
                        <a:pt x="0" y="1480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iṥḷïḍè"/>
                <p:cNvSpPr/>
                <p:nvPr/>
              </p:nvSpPr>
              <p:spPr>
                <a:xfrm>
                  <a:off x="3289190" y="4738992"/>
                  <a:ext cx="3333" cy="40386"/>
                </a:xfrm>
                <a:custGeom>
                  <a:avLst/>
                  <a:gdLst>
                    <a:gd name="connsiteX0" fmla="*/ 3334 w 3333"/>
                    <a:gd name="connsiteY0" fmla="*/ 0 h 40386"/>
                    <a:gd name="connsiteX1" fmla="*/ 0 w 3333"/>
                    <a:gd name="connsiteY1" fmla="*/ 40386 h 40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3" h="40386">
                      <a:moveTo>
                        <a:pt x="3334" y="0"/>
                      </a:moveTo>
                      <a:lnTo>
                        <a:pt x="0" y="40386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íšľîḍè"/>
                <p:cNvSpPr/>
                <p:nvPr/>
              </p:nvSpPr>
              <p:spPr>
                <a:xfrm rot="285305">
                  <a:off x="3188314" y="4792314"/>
                  <a:ext cx="56199" cy="56199"/>
                </a:xfrm>
                <a:custGeom>
                  <a:avLst/>
                  <a:gdLst>
                    <a:gd name="connsiteX0" fmla="*/ 0 w 56199"/>
                    <a:gd name="connsiteY0" fmla="*/ 0 h 56199"/>
                    <a:gd name="connsiteX1" fmla="*/ 56200 w 56199"/>
                    <a:gd name="connsiteY1" fmla="*/ 0 h 56199"/>
                    <a:gd name="connsiteX2" fmla="*/ 56200 w 56199"/>
                    <a:gd name="connsiteY2" fmla="*/ 56200 h 56199"/>
                    <a:gd name="connsiteX3" fmla="*/ 0 w 56199"/>
                    <a:gd name="connsiteY3" fmla="*/ 56200 h 56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9" h="56199">
                      <a:moveTo>
                        <a:pt x="0" y="0"/>
                      </a:moveTo>
                      <a:lnTo>
                        <a:pt x="56200" y="0"/>
                      </a:lnTo>
                      <a:lnTo>
                        <a:pt x="56200" y="56200"/>
                      </a:lnTo>
                      <a:lnTo>
                        <a:pt x="0" y="56200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íśḻíḍê"/>
                <p:cNvSpPr/>
                <p:nvPr/>
              </p:nvSpPr>
              <p:spPr>
                <a:xfrm rot="285305">
                  <a:off x="3274614" y="4801929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íŝlïḍê"/>
                <p:cNvSpPr/>
                <p:nvPr/>
              </p:nvSpPr>
              <p:spPr>
                <a:xfrm rot="285305">
                  <a:off x="3272709" y="4825366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iṡḻîḋè"/>
                <p:cNvSpPr/>
                <p:nvPr/>
              </p:nvSpPr>
              <p:spPr>
                <a:xfrm rot="285305">
                  <a:off x="3270709" y="4848794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íṩlíḍé"/>
                <p:cNvSpPr/>
                <p:nvPr/>
              </p:nvSpPr>
              <p:spPr>
                <a:xfrm rot="285305">
                  <a:off x="3268811" y="4872135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1 w 116400"/>
                    <a:gd name="connsiteY1" fmla="*/ 0 h 9144"/>
                    <a:gd name="connsiteX2" fmla="*/ 116401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1" y="0"/>
                      </a:lnTo>
                      <a:lnTo>
                        <a:pt x="116401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iślïḍé"/>
                <p:cNvSpPr/>
                <p:nvPr/>
              </p:nvSpPr>
              <p:spPr>
                <a:xfrm rot="285305">
                  <a:off x="3184415" y="4862611"/>
                  <a:ext cx="56199" cy="9144"/>
                </a:xfrm>
                <a:custGeom>
                  <a:avLst/>
                  <a:gdLst>
                    <a:gd name="connsiteX0" fmla="*/ 0 w 56199"/>
                    <a:gd name="connsiteY0" fmla="*/ 0 h 9144"/>
                    <a:gd name="connsiteX1" fmla="*/ 56200 w 56199"/>
                    <a:gd name="connsiteY1" fmla="*/ 0 h 9144"/>
                    <a:gd name="connsiteX2" fmla="*/ 56200 w 56199"/>
                    <a:gd name="connsiteY2" fmla="*/ 9144 h 9144"/>
                    <a:gd name="connsiteX3" fmla="*/ 0 w 56199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9" h="9144">
                      <a:moveTo>
                        <a:pt x="0" y="0"/>
                      </a:moveTo>
                      <a:lnTo>
                        <a:pt x="56200" y="0"/>
                      </a:lnTo>
                      <a:lnTo>
                        <a:pt x="562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2" name="îSḻîḓé"/>
              <p:cNvSpPr/>
              <p:nvPr/>
            </p:nvSpPr>
            <p:spPr>
              <a:xfrm>
                <a:off x="2482444" y="4094054"/>
                <a:ext cx="667775" cy="1848326"/>
              </a:xfrm>
              <a:custGeom>
                <a:avLst/>
                <a:gdLst>
                  <a:gd name="connsiteX0" fmla="*/ 667776 w 667775"/>
                  <a:gd name="connsiteY0" fmla="*/ 0 h 1848326"/>
                  <a:gd name="connsiteX1" fmla="*/ 2740 w 667775"/>
                  <a:gd name="connsiteY1" fmla="*/ 1144619 h 1848326"/>
                  <a:gd name="connsiteX2" fmla="*/ 285537 w 667775"/>
                  <a:gd name="connsiteY2" fmla="*/ 1848326 h 1848326"/>
                  <a:gd name="connsiteX3" fmla="*/ 430127 w 667775"/>
                  <a:gd name="connsiteY3" fmla="*/ 1725930 h 1848326"/>
                  <a:gd name="connsiteX4" fmla="*/ 621960 w 667775"/>
                  <a:gd name="connsiteY4" fmla="*/ 550259 h 1848326"/>
                  <a:gd name="connsiteX5" fmla="*/ 667776 w 667775"/>
                  <a:gd name="connsiteY5" fmla="*/ 0 h 1848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7775" h="1848326">
                    <a:moveTo>
                      <a:pt x="667776" y="0"/>
                    </a:moveTo>
                    <a:cubicBezTo>
                      <a:pt x="667776" y="0"/>
                      <a:pt x="95799" y="27051"/>
                      <a:pt x="2740" y="1144619"/>
                    </a:cubicBezTo>
                    <a:cubicBezTo>
                      <a:pt x="-32598" y="1569053"/>
                      <a:pt x="285537" y="1848326"/>
                      <a:pt x="285537" y="1848326"/>
                    </a:cubicBezTo>
                    <a:lnTo>
                      <a:pt x="430127" y="1725930"/>
                    </a:lnTo>
                    <a:cubicBezTo>
                      <a:pt x="430127" y="1725930"/>
                      <a:pt x="-65364" y="1131951"/>
                      <a:pt x="621960" y="550259"/>
                    </a:cubicBezTo>
                    <a:lnTo>
                      <a:pt x="667776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ïṡḷïďê"/>
              <p:cNvSpPr/>
              <p:nvPr/>
            </p:nvSpPr>
            <p:spPr>
              <a:xfrm>
                <a:off x="3500359" y="4137298"/>
                <a:ext cx="528090" cy="1876139"/>
              </a:xfrm>
              <a:custGeom>
                <a:avLst/>
                <a:gdLst>
                  <a:gd name="connsiteX0" fmla="*/ 50197 w 528090"/>
                  <a:gd name="connsiteY0" fmla="*/ 0 h 1876139"/>
                  <a:gd name="connsiteX1" fmla="*/ 517684 w 528090"/>
                  <a:gd name="connsiteY1" fmla="*/ 1228916 h 1876139"/>
                  <a:gd name="connsiteX2" fmla="*/ 122396 w 528090"/>
                  <a:gd name="connsiteY2" fmla="*/ 1876139 h 1876139"/>
                  <a:gd name="connsiteX3" fmla="*/ 0 w 528090"/>
                  <a:gd name="connsiteY3" fmla="*/ 1731550 h 1876139"/>
                  <a:gd name="connsiteX4" fmla="*/ 5144 w 528090"/>
                  <a:gd name="connsiteY4" fmla="*/ 540353 h 1876139"/>
                  <a:gd name="connsiteX5" fmla="*/ 50197 w 528090"/>
                  <a:gd name="connsiteY5" fmla="*/ 0 h 1876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8090" h="1876139">
                    <a:moveTo>
                      <a:pt x="50197" y="0"/>
                    </a:moveTo>
                    <a:cubicBezTo>
                      <a:pt x="50197" y="0"/>
                      <a:pt x="610648" y="111347"/>
                      <a:pt x="517684" y="1228916"/>
                    </a:cubicBezTo>
                    <a:cubicBezTo>
                      <a:pt x="482346" y="1653349"/>
                      <a:pt x="122396" y="1876139"/>
                      <a:pt x="122396" y="1876139"/>
                    </a:cubicBezTo>
                    <a:lnTo>
                      <a:pt x="0" y="1731550"/>
                    </a:lnTo>
                    <a:cubicBezTo>
                      <a:pt x="0" y="1731550"/>
                      <a:pt x="586835" y="1227677"/>
                      <a:pt x="5144" y="540353"/>
                    </a:cubicBezTo>
                    <a:lnTo>
                      <a:pt x="50197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îṩ1ïďê"/>
              <p:cNvSpPr/>
              <p:nvPr/>
            </p:nvSpPr>
            <p:spPr>
              <a:xfrm>
                <a:off x="2454419" y="4077005"/>
                <a:ext cx="750189" cy="2991421"/>
              </a:xfrm>
              <a:custGeom>
                <a:avLst/>
                <a:gdLst>
                  <a:gd name="connsiteX0" fmla="*/ 695801 w 750189"/>
                  <a:gd name="connsiteY0" fmla="*/ 17050 h 2991421"/>
                  <a:gd name="connsiteX1" fmla="*/ 457105 w 750189"/>
                  <a:gd name="connsiteY1" fmla="*/ 319088 h 2991421"/>
                  <a:gd name="connsiteX2" fmla="*/ 0 w 750189"/>
                  <a:gd name="connsiteY2" fmla="*/ 2952083 h 2991421"/>
                  <a:gd name="connsiteX3" fmla="*/ 472630 w 750189"/>
                  <a:gd name="connsiteY3" fmla="*/ 2991422 h 2991421"/>
                  <a:gd name="connsiteX4" fmla="*/ 750189 w 750189"/>
                  <a:gd name="connsiteY4" fmla="*/ 0 h 2991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0189" h="2991421">
                    <a:moveTo>
                      <a:pt x="695801" y="17050"/>
                    </a:moveTo>
                    <a:lnTo>
                      <a:pt x="457105" y="319088"/>
                    </a:lnTo>
                    <a:lnTo>
                      <a:pt x="0" y="2952083"/>
                    </a:lnTo>
                    <a:lnTo>
                      <a:pt x="472630" y="2991422"/>
                    </a:lnTo>
                    <a:lnTo>
                      <a:pt x="75018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íṧļïḍe"/>
              <p:cNvSpPr/>
              <p:nvPr/>
            </p:nvSpPr>
            <p:spPr>
              <a:xfrm>
                <a:off x="3237945" y="4105485"/>
                <a:ext cx="561403" cy="3035522"/>
              </a:xfrm>
              <a:custGeom>
                <a:avLst/>
                <a:gdLst>
                  <a:gd name="connsiteX0" fmla="*/ 545878 w 561403"/>
                  <a:gd name="connsiteY0" fmla="*/ 363188 h 3035522"/>
                  <a:gd name="connsiteX1" fmla="*/ 278797 w 561403"/>
                  <a:gd name="connsiteY1" fmla="*/ 19050 h 3035522"/>
                  <a:gd name="connsiteX2" fmla="*/ 254032 w 561403"/>
                  <a:gd name="connsiteY2" fmla="*/ 0 h 3035522"/>
                  <a:gd name="connsiteX3" fmla="*/ 0 w 561403"/>
                  <a:gd name="connsiteY3" fmla="*/ 2988850 h 3035522"/>
                  <a:gd name="connsiteX4" fmla="*/ 561403 w 561403"/>
                  <a:gd name="connsiteY4" fmla="*/ 3035522 h 3035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403" h="3035522">
                    <a:moveTo>
                      <a:pt x="545878" y="363188"/>
                    </a:moveTo>
                    <a:lnTo>
                      <a:pt x="278797" y="19050"/>
                    </a:lnTo>
                    <a:lnTo>
                      <a:pt x="254032" y="0"/>
                    </a:lnTo>
                    <a:lnTo>
                      <a:pt x="0" y="2988850"/>
                    </a:lnTo>
                    <a:lnTo>
                      <a:pt x="561403" y="3035522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iSḻiḋe"/>
              <p:cNvSpPr/>
              <p:nvPr/>
            </p:nvSpPr>
            <p:spPr>
              <a:xfrm>
                <a:off x="3049160" y="4034238"/>
                <a:ext cx="159067" cy="1718119"/>
              </a:xfrm>
              <a:custGeom>
                <a:avLst/>
                <a:gdLst>
                  <a:gd name="connsiteX0" fmla="*/ 0 w 159067"/>
                  <a:gd name="connsiteY0" fmla="*/ 1718120 h 1718119"/>
                  <a:gd name="connsiteX1" fmla="*/ 62579 w 159067"/>
                  <a:gd name="connsiteY1" fmla="*/ 66008 h 1718119"/>
                  <a:gd name="connsiteX2" fmla="*/ 159067 w 159067"/>
                  <a:gd name="connsiteY2" fmla="*/ 0 h 171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067" h="1718119">
                    <a:moveTo>
                      <a:pt x="0" y="1718120"/>
                    </a:moveTo>
                    <a:lnTo>
                      <a:pt x="62579" y="66008"/>
                    </a:lnTo>
                    <a:lnTo>
                      <a:pt x="159067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7" name="îṣľîdè"/>
              <p:cNvSpPr/>
              <p:nvPr/>
            </p:nvSpPr>
            <p:spPr>
              <a:xfrm>
                <a:off x="3516567" y="4963592"/>
                <a:ext cx="228203" cy="256612"/>
              </a:xfrm>
              <a:custGeom>
                <a:avLst/>
                <a:gdLst>
                  <a:gd name="connsiteX0" fmla="*/ 2175 w 228203"/>
                  <a:gd name="connsiteY0" fmla="*/ 0 h 256612"/>
                  <a:gd name="connsiteX1" fmla="*/ 228204 w 228203"/>
                  <a:gd name="connsiteY1" fmla="*/ 18764 h 256612"/>
                  <a:gd name="connsiteX2" fmla="*/ 97044 w 228203"/>
                  <a:gd name="connsiteY2" fmla="*/ 256318 h 256612"/>
                  <a:gd name="connsiteX3" fmla="*/ 2175 w 228203"/>
                  <a:gd name="connsiteY3" fmla="*/ 0 h 256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203" h="256612">
                    <a:moveTo>
                      <a:pt x="2175" y="0"/>
                    </a:moveTo>
                    <a:lnTo>
                      <a:pt x="228204" y="18764"/>
                    </a:lnTo>
                    <a:cubicBezTo>
                      <a:pt x="228204" y="18764"/>
                      <a:pt x="216869" y="266319"/>
                      <a:pt x="97044" y="256318"/>
                    </a:cubicBezTo>
                    <a:cubicBezTo>
                      <a:pt x="-22876" y="246412"/>
                      <a:pt x="2175" y="0"/>
                      <a:pt x="2175" y="0"/>
                    </a:cubicBez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ïṡḷíḓê"/>
              <p:cNvSpPr/>
              <p:nvPr/>
            </p:nvSpPr>
            <p:spPr>
              <a:xfrm>
                <a:off x="3347578" y="4058050"/>
                <a:ext cx="230886" cy="1719167"/>
              </a:xfrm>
              <a:custGeom>
                <a:avLst/>
                <a:gdLst>
                  <a:gd name="connsiteX0" fmla="*/ 0 w 230886"/>
                  <a:gd name="connsiteY0" fmla="*/ 1719167 h 1719167"/>
                  <a:gd name="connsiteX1" fmla="*/ 230886 w 230886"/>
                  <a:gd name="connsiteY1" fmla="*/ 80963 h 1719167"/>
                  <a:gd name="connsiteX2" fmla="*/ 146685 w 230886"/>
                  <a:gd name="connsiteY2" fmla="*/ 0 h 171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886" h="1719167">
                    <a:moveTo>
                      <a:pt x="0" y="1719167"/>
                    </a:moveTo>
                    <a:lnTo>
                      <a:pt x="230886" y="80963"/>
                    </a:lnTo>
                    <a:lnTo>
                      <a:pt x="146685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59" name="图形 278"/>
              <p:cNvGrpSpPr/>
              <p:nvPr/>
            </p:nvGrpSpPr>
            <p:grpSpPr>
              <a:xfrm>
                <a:off x="2840218" y="4060821"/>
                <a:ext cx="819392" cy="715011"/>
                <a:chOff x="2840218" y="4060821"/>
                <a:chExt cx="819392" cy="715011"/>
              </a:xfrm>
              <a:solidFill>
                <a:schemeClr val="accent1"/>
              </a:solidFill>
            </p:grpSpPr>
            <p:sp>
              <p:nvSpPr>
                <p:cNvPr id="83" name="îṡľíḓê"/>
                <p:cNvSpPr/>
                <p:nvPr/>
              </p:nvSpPr>
              <p:spPr>
                <a:xfrm>
                  <a:off x="2861612" y="4305073"/>
                  <a:ext cx="211839" cy="449390"/>
                </a:xfrm>
                <a:custGeom>
                  <a:avLst/>
                  <a:gdLst>
                    <a:gd name="connsiteX0" fmla="*/ 170783 w 211839"/>
                    <a:gd name="connsiteY0" fmla="*/ 448873 h 449390"/>
                    <a:gd name="connsiteX1" fmla="*/ 104870 w 211839"/>
                    <a:gd name="connsiteY1" fmla="*/ 131500 h 449390"/>
                    <a:gd name="connsiteX2" fmla="*/ 185738 w 211839"/>
                    <a:gd name="connsiteY2" fmla="*/ 1389 h 449390"/>
                    <a:gd name="connsiteX3" fmla="*/ 195072 w 211839"/>
                    <a:gd name="connsiteY3" fmla="*/ 156551 h 449390"/>
                    <a:gd name="connsiteX4" fmla="*/ 0 w 211839"/>
                    <a:gd name="connsiteY4" fmla="*/ 415441 h 449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839" h="449390">
                      <a:moveTo>
                        <a:pt x="170783" y="448873"/>
                      </a:moveTo>
                      <a:cubicBezTo>
                        <a:pt x="170783" y="448873"/>
                        <a:pt x="41243" y="476305"/>
                        <a:pt x="104870" y="131500"/>
                      </a:cubicBezTo>
                      <a:cubicBezTo>
                        <a:pt x="104870" y="131500"/>
                        <a:pt x="133064" y="-15756"/>
                        <a:pt x="185738" y="1389"/>
                      </a:cubicBezTo>
                      <a:cubicBezTo>
                        <a:pt x="238411" y="18534"/>
                        <a:pt x="195072" y="156551"/>
                        <a:pt x="195072" y="156551"/>
                      </a:cubicBezTo>
                      <a:cubicBezTo>
                        <a:pt x="105537" y="495451"/>
                        <a:pt x="0" y="415441"/>
                        <a:pt x="0" y="415441"/>
                      </a:cubicBezTo>
                    </a:path>
                  </a:pathLst>
                </a:custGeom>
                <a:noFill/>
                <a:ln w="14779" cap="flat">
                  <a:solidFill>
                    <a:srgbClr val="5B7FC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îsľíḍé"/>
                <p:cNvSpPr/>
                <p:nvPr/>
              </p:nvSpPr>
              <p:spPr>
                <a:xfrm>
                  <a:off x="3047350" y="4060821"/>
                  <a:ext cx="561308" cy="575586"/>
                </a:xfrm>
                <a:custGeom>
                  <a:avLst/>
                  <a:gdLst>
                    <a:gd name="connsiteX0" fmla="*/ 0 w 561308"/>
                    <a:gd name="connsiteY0" fmla="*/ 245736 h 575586"/>
                    <a:gd name="connsiteX1" fmla="*/ 319469 w 561308"/>
                    <a:gd name="connsiteY1" fmla="*/ 1801 h 575586"/>
                    <a:gd name="connsiteX2" fmla="*/ 561308 w 561308"/>
                    <a:gd name="connsiteY2" fmla="*/ 575587 h 575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1308" h="575586">
                      <a:moveTo>
                        <a:pt x="0" y="245736"/>
                      </a:moveTo>
                      <a:cubicBezTo>
                        <a:pt x="0" y="245736"/>
                        <a:pt x="3429" y="-24488"/>
                        <a:pt x="319469" y="1801"/>
                      </a:cubicBezTo>
                      <a:cubicBezTo>
                        <a:pt x="635508" y="28090"/>
                        <a:pt x="493586" y="433188"/>
                        <a:pt x="561308" y="575587"/>
                      </a:cubicBezTo>
                    </a:path>
                  </a:pathLst>
                </a:custGeom>
                <a:noFill/>
                <a:ln w="14779" cap="flat">
                  <a:solidFill>
                    <a:srgbClr val="5B7FC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ïṧļïḑé"/>
                <p:cNvSpPr/>
                <p:nvPr/>
              </p:nvSpPr>
              <p:spPr>
                <a:xfrm rot="-5216342">
                  <a:off x="2841278" y="4700057"/>
                  <a:ext cx="40768" cy="40768"/>
                </a:xfrm>
                <a:custGeom>
                  <a:avLst/>
                  <a:gdLst>
                    <a:gd name="connsiteX0" fmla="*/ 40768 w 40768"/>
                    <a:gd name="connsiteY0" fmla="*/ 20384 h 40768"/>
                    <a:gd name="connsiteX1" fmla="*/ 20384 w 40768"/>
                    <a:gd name="connsiteY1" fmla="*/ 40768 h 40768"/>
                    <a:gd name="connsiteX2" fmla="*/ 0 w 40768"/>
                    <a:gd name="connsiteY2" fmla="*/ 20384 h 40768"/>
                    <a:gd name="connsiteX3" fmla="*/ 20384 w 40768"/>
                    <a:gd name="connsiteY3" fmla="*/ 0 h 40768"/>
                    <a:gd name="connsiteX4" fmla="*/ 40768 w 40768"/>
                    <a:gd name="connsiteY4" fmla="*/ 20384 h 40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8" h="40768">
                      <a:moveTo>
                        <a:pt x="40768" y="20384"/>
                      </a:moveTo>
                      <a:cubicBezTo>
                        <a:pt x="40768" y="31642"/>
                        <a:pt x="31642" y="40768"/>
                        <a:pt x="20384" y="40768"/>
                      </a:cubicBezTo>
                      <a:cubicBezTo>
                        <a:pt x="9126" y="40768"/>
                        <a:pt x="0" y="31642"/>
                        <a:pt x="0" y="20384"/>
                      </a:cubicBezTo>
                      <a:cubicBezTo>
                        <a:pt x="0" y="9126"/>
                        <a:pt x="9126" y="0"/>
                        <a:pt x="20384" y="0"/>
                      </a:cubicBezTo>
                      <a:cubicBezTo>
                        <a:pt x="31642" y="0"/>
                        <a:pt x="40768" y="9126"/>
                        <a:pt x="40768" y="20384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ïŝ1îḍè"/>
                <p:cNvSpPr/>
                <p:nvPr/>
              </p:nvSpPr>
              <p:spPr>
                <a:xfrm>
                  <a:off x="3557610" y="4585455"/>
                  <a:ext cx="102000" cy="102001"/>
                </a:xfrm>
                <a:custGeom>
                  <a:avLst/>
                  <a:gdLst>
                    <a:gd name="connsiteX0" fmla="*/ 184 w 102000"/>
                    <a:gd name="connsiteY0" fmla="*/ 46762 h 102001"/>
                    <a:gd name="connsiteX1" fmla="*/ 46762 w 102000"/>
                    <a:gd name="connsiteY1" fmla="*/ 101817 h 102001"/>
                    <a:gd name="connsiteX2" fmla="*/ 101816 w 102000"/>
                    <a:gd name="connsiteY2" fmla="*/ 55240 h 102001"/>
                    <a:gd name="connsiteX3" fmla="*/ 55239 w 102000"/>
                    <a:gd name="connsiteY3" fmla="*/ 185 h 102001"/>
                    <a:gd name="connsiteX4" fmla="*/ 184 w 102000"/>
                    <a:gd name="connsiteY4" fmla="*/ 46762 h 102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000" h="102001">
                      <a:moveTo>
                        <a:pt x="184" y="46762"/>
                      </a:moveTo>
                      <a:cubicBezTo>
                        <a:pt x="-2197" y="74861"/>
                        <a:pt x="18758" y="99531"/>
                        <a:pt x="46762" y="101817"/>
                      </a:cubicBezTo>
                      <a:cubicBezTo>
                        <a:pt x="74860" y="104198"/>
                        <a:pt x="99530" y="83243"/>
                        <a:pt x="101816" y="55240"/>
                      </a:cubicBezTo>
                      <a:cubicBezTo>
                        <a:pt x="104198" y="27141"/>
                        <a:pt x="83242" y="2471"/>
                        <a:pt x="55239" y="185"/>
                      </a:cubicBezTo>
                      <a:cubicBezTo>
                        <a:pt x="27140" y="-2196"/>
                        <a:pt x="2470" y="18664"/>
                        <a:pt x="184" y="46762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íşľîdé"/>
                <p:cNvSpPr/>
                <p:nvPr/>
              </p:nvSpPr>
              <p:spPr>
                <a:xfrm>
                  <a:off x="3581893" y="4609738"/>
                  <a:ext cx="53435" cy="53435"/>
                </a:xfrm>
                <a:custGeom>
                  <a:avLst/>
                  <a:gdLst>
                    <a:gd name="connsiteX0" fmla="*/ 95 w 53435"/>
                    <a:gd name="connsiteY0" fmla="*/ 24479 h 53435"/>
                    <a:gd name="connsiteX1" fmla="*/ 24479 w 53435"/>
                    <a:gd name="connsiteY1" fmla="*/ 53340 h 53435"/>
                    <a:gd name="connsiteX2" fmla="*/ 53340 w 53435"/>
                    <a:gd name="connsiteY2" fmla="*/ 28956 h 53435"/>
                    <a:gd name="connsiteX3" fmla="*/ 28956 w 53435"/>
                    <a:gd name="connsiteY3" fmla="*/ 95 h 53435"/>
                    <a:gd name="connsiteX4" fmla="*/ 95 w 53435"/>
                    <a:gd name="connsiteY4" fmla="*/ 24479 h 53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35" h="53435">
                      <a:moveTo>
                        <a:pt x="95" y="24479"/>
                      </a:moveTo>
                      <a:cubicBezTo>
                        <a:pt x="-1143" y="39148"/>
                        <a:pt x="9811" y="52102"/>
                        <a:pt x="24479" y="53340"/>
                      </a:cubicBezTo>
                      <a:cubicBezTo>
                        <a:pt x="39148" y="54578"/>
                        <a:pt x="52102" y="43625"/>
                        <a:pt x="53340" y="28956"/>
                      </a:cubicBezTo>
                      <a:cubicBezTo>
                        <a:pt x="54578" y="14288"/>
                        <a:pt x="43624" y="1334"/>
                        <a:pt x="28956" y="95"/>
                      </a:cubicBezTo>
                      <a:cubicBezTo>
                        <a:pt x="14192" y="-1143"/>
                        <a:pt x="1334" y="9811"/>
                        <a:pt x="95" y="24479"/>
                      </a:cubicBezTo>
                      <a:close/>
                    </a:path>
                  </a:pathLst>
                </a:custGeom>
                <a:solidFill>
                  <a:srgbClr val="E8E7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íS1îḋe"/>
                <p:cNvSpPr/>
                <p:nvPr/>
              </p:nvSpPr>
              <p:spPr>
                <a:xfrm>
                  <a:off x="3014700" y="4735108"/>
                  <a:ext cx="40724" cy="40724"/>
                </a:xfrm>
                <a:custGeom>
                  <a:avLst/>
                  <a:gdLst>
                    <a:gd name="connsiteX0" fmla="*/ 74 w 40724"/>
                    <a:gd name="connsiteY0" fmla="*/ 18648 h 40724"/>
                    <a:gd name="connsiteX1" fmla="*/ 18648 w 40724"/>
                    <a:gd name="connsiteY1" fmla="*/ 40651 h 40724"/>
                    <a:gd name="connsiteX2" fmla="*/ 40650 w 40724"/>
                    <a:gd name="connsiteY2" fmla="*/ 22077 h 40724"/>
                    <a:gd name="connsiteX3" fmla="*/ 22076 w 40724"/>
                    <a:gd name="connsiteY3" fmla="*/ 75 h 40724"/>
                    <a:gd name="connsiteX4" fmla="*/ 74 w 40724"/>
                    <a:gd name="connsiteY4" fmla="*/ 18648 h 4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24" h="40724">
                      <a:moveTo>
                        <a:pt x="74" y="18648"/>
                      </a:moveTo>
                      <a:cubicBezTo>
                        <a:pt x="-879" y="29888"/>
                        <a:pt x="7503" y="39698"/>
                        <a:pt x="18648" y="40651"/>
                      </a:cubicBezTo>
                      <a:cubicBezTo>
                        <a:pt x="29887" y="41604"/>
                        <a:pt x="39698" y="33222"/>
                        <a:pt x="40650" y="22077"/>
                      </a:cubicBezTo>
                      <a:cubicBezTo>
                        <a:pt x="41603" y="10838"/>
                        <a:pt x="33221" y="1027"/>
                        <a:pt x="22076" y="75"/>
                      </a:cubicBezTo>
                      <a:cubicBezTo>
                        <a:pt x="10837" y="-878"/>
                        <a:pt x="1026" y="7409"/>
                        <a:pt x="74" y="18648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0" name="îṧlïḑe"/>
              <p:cNvSpPr/>
              <p:nvPr/>
            </p:nvSpPr>
            <p:spPr>
              <a:xfrm>
                <a:off x="3192765" y="3912889"/>
                <a:ext cx="313213" cy="407593"/>
              </a:xfrm>
              <a:custGeom>
                <a:avLst/>
                <a:gdLst>
                  <a:gd name="connsiteX0" fmla="*/ 80614 w 313213"/>
                  <a:gd name="connsiteY0" fmla="*/ 397955 h 407593"/>
                  <a:gd name="connsiteX1" fmla="*/ 193008 w 313213"/>
                  <a:gd name="connsiteY1" fmla="*/ 407289 h 407593"/>
                  <a:gd name="connsiteX2" fmla="*/ 287973 w 313213"/>
                  <a:gd name="connsiteY2" fmla="*/ 326898 h 407593"/>
                  <a:gd name="connsiteX3" fmla="*/ 313214 w 313213"/>
                  <a:gd name="connsiteY3" fmla="*/ 23908 h 407593"/>
                  <a:gd name="connsiteX4" fmla="*/ 25559 w 313213"/>
                  <a:gd name="connsiteY4" fmla="*/ 0 h 407593"/>
                  <a:gd name="connsiteX5" fmla="*/ 318 w 313213"/>
                  <a:gd name="connsiteY5" fmla="*/ 302990 h 407593"/>
                  <a:gd name="connsiteX6" fmla="*/ 80614 w 313213"/>
                  <a:gd name="connsiteY6" fmla="*/ 397955 h 407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213" h="407593">
                    <a:moveTo>
                      <a:pt x="80614" y="397955"/>
                    </a:moveTo>
                    <a:lnTo>
                      <a:pt x="193008" y="407289"/>
                    </a:lnTo>
                    <a:cubicBezTo>
                      <a:pt x="241395" y="411289"/>
                      <a:pt x="283972" y="375380"/>
                      <a:pt x="287973" y="326898"/>
                    </a:cubicBezTo>
                    <a:lnTo>
                      <a:pt x="313214" y="23908"/>
                    </a:lnTo>
                    <a:lnTo>
                      <a:pt x="25559" y="0"/>
                    </a:lnTo>
                    <a:lnTo>
                      <a:pt x="318" y="302990"/>
                    </a:lnTo>
                    <a:cubicBezTo>
                      <a:pt x="-3778" y="351472"/>
                      <a:pt x="32226" y="393954"/>
                      <a:pt x="80614" y="397955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î$1ïḓè"/>
              <p:cNvSpPr/>
              <p:nvPr/>
            </p:nvSpPr>
            <p:spPr>
              <a:xfrm>
                <a:off x="3130411" y="3354580"/>
                <a:ext cx="497748" cy="661716"/>
              </a:xfrm>
              <a:custGeom>
                <a:avLst/>
                <a:gdLst>
                  <a:gd name="connsiteX0" fmla="*/ 1901 w 497748"/>
                  <a:gd name="connsiteY0" fmla="*/ 356379 h 661716"/>
                  <a:gd name="connsiteX1" fmla="*/ 198879 w 497748"/>
                  <a:gd name="connsiteY1" fmla="*/ 660798 h 661716"/>
                  <a:gd name="connsiteX2" fmla="*/ 490248 w 497748"/>
                  <a:gd name="connsiteY2" fmla="*/ 397050 h 661716"/>
                  <a:gd name="connsiteX3" fmla="*/ 277269 w 497748"/>
                  <a:gd name="connsiteY3" fmla="*/ 1477 h 661716"/>
                  <a:gd name="connsiteX4" fmla="*/ 1901 w 497748"/>
                  <a:gd name="connsiteY4" fmla="*/ 356379 h 661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748" h="661716">
                    <a:moveTo>
                      <a:pt x="1901" y="356379"/>
                    </a:moveTo>
                    <a:cubicBezTo>
                      <a:pt x="-13338" y="539259"/>
                      <a:pt x="64005" y="649558"/>
                      <a:pt x="198879" y="660798"/>
                    </a:cubicBezTo>
                    <a:cubicBezTo>
                      <a:pt x="333753" y="672037"/>
                      <a:pt x="475104" y="579930"/>
                      <a:pt x="490248" y="397050"/>
                    </a:cubicBezTo>
                    <a:cubicBezTo>
                      <a:pt x="505488" y="214170"/>
                      <a:pt x="521490" y="21765"/>
                      <a:pt x="277269" y="1477"/>
                    </a:cubicBezTo>
                    <a:cubicBezTo>
                      <a:pt x="33143" y="-18811"/>
                      <a:pt x="17142" y="173499"/>
                      <a:pt x="1901" y="356379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ïşḻiḍe"/>
              <p:cNvSpPr/>
              <p:nvPr/>
            </p:nvSpPr>
            <p:spPr>
              <a:xfrm>
                <a:off x="3588179" y="3669725"/>
                <a:ext cx="103791" cy="168392"/>
              </a:xfrm>
              <a:custGeom>
                <a:avLst/>
                <a:gdLst>
                  <a:gd name="connsiteX0" fmla="*/ 103346 w 103791"/>
                  <a:gd name="connsiteY0" fmla="*/ 72857 h 168392"/>
                  <a:gd name="connsiteX1" fmla="*/ 0 w 103791"/>
                  <a:gd name="connsiteY1" fmla="*/ 168393 h 168392"/>
                  <a:gd name="connsiteX2" fmla="*/ 13811 w 103791"/>
                  <a:gd name="connsiteY2" fmla="*/ 2944 h 168392"/>
                  <a:gd name="connsiteX3" fmla="*/ 103346 w 103791"/>
                  <a:gd name="connsiteY3" fmla="*/ 72857 h 168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791" h="168392">
                    <a:moveTo>
                      <a:pt x="103346" y="72857"/>
                    </a:moveTo>
                    <a:cubicBezTo>
                      <a:pt x="95440" y="167631"/>
                      <a:pt x="0" y="168393"/>
                      <a:pt x="0" y="168393"/>
                    </a:cubicBezTo>
                    <a:lnTo>
                      <a:pt x="13811" y="2944"/>
                    </a:lnTo>
                    <a:cubicBezTo>
                      <a:pt x="13716" y="2944"/>
                      <a:pt x="111157" y="-21917"/>
                      <a:pt x="103346" y="72857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ïşḻiďê"/>
              <p:cNvSpPr/>
              <p:nvPr/>
            </p:nvSpPr>
            <p:spPr>
              <a:xfrm>
                <a:off x="3608658" y="3709322"/>
                <a:ext cx="50555" cy="90696"/>
              </a:xfrm>
              <a:custGeom>
                <a:avLst/>
                <a:gdLst>
                  <a:gd name="connsiteX0" fmla="*/ 50292 w 50555"/>
                  <a:gd name="connsiteY0" fmla="*/ 38880 h 90696"/>
                  <a:gd name="connsiteX1" fmla="*/ 0 w 50555"/>
                  <a:gd name="connsiteY1" fmla="*/ 90696 h 90696"/>
                  <a:gd name="connsiteX2" fmla="*/ 7429 w 50555"/>
                  <a:gd name="connsiteY2" fmla="*/ 1637 h 90696"/>
                  <a:gd name="connsiteX3" fmla="*/ 50292 w 50555"/>
                  <a:gd name="connsiteY3" fmla="*/ 38880 h 9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55" h="90696">
                    <a:moveTo>
                      <a:pt x="50292" y="38880"/>
                    </a:moveTo>
                    <a:cubicBezTo>
                      <a:pt x="46006" y="89934"/>
                      <a:pt x="0" y="90696"/>
                      <a:pt x="0" y="90696"/>
                    </a:cubicBezTo>
                    <a:lnTo>
                      <a:pt x="7429" y="1637"/>
                    </a:lnTo>
                    <a:cubicBezTo>
                      <a:pt x="7334" y="1733"/>
                      <a:pt x="54483" y="-12079"/>
                      <a:pt x="50292" y="38880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îš1ïdè"/>
              <p:cNvSpPr/>
              <p:nvPr/>
            </p:nvSpPr>
            <p:spPr>
              <a:xfrm>
                <a:off x="3439619" y="3654415"/>
                <a:ext cx="66520" cy="49651"/>
              </a:xfrm>
              <a:custGeom>
                <a:avLst/>
                <a:gdLst>
                  <a:gd name="connsiteX0" fmla="*/ 66455 w 66520"/>
                  <a:gd name="connsiteY0" fmla="*/ 27588 h 49651"/>
                  <a:gd name="connsiteX1" fmla="*/ 31212 w 66520"/>
                  <a:gd name="connsiteY1" fmla="*/ 49496 h 49651"/>
                  <a:gd name="connsiteX2" fmla="*/ 65 w 66520"/>
                  <a:gd name="connsiteY2" fmla="*/ 22064 h 49651"/>
                  <a:gd name="connsiteX3" fmla="*/ 35308 w 66520"/>
                  <a:gd name="connsiteY3" fmla="*/ 156 h 49651"/>
                  <a:gd name="connsiteX4" fmla="*/ 66455 w 66520"/>
                  <a:gd name="connsiteY4" fmla="*/ 27588 h 49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20" h="49651">
                    <a:moveTo>
                      <a:pt x="66455" y="27588"/>
                    </a:moveTo>
                    <a:cubicBezTo>
                      <a:pt x="65312" y="41209"/>
                      <a:pt x="49595" y="51020"/>
                      <a:pt x="31212" y="49496"/>
                    </a:cubicBezTo>
                    <a:cubicBezTo>
                      <a:pt x="12924" y="47972"/>
                      <a:pt x="-1078" y="35684"/>
                      <a:pt x="65" y="22064"/>
                    </a:cubicBezTo>
                    <a:cubicBezTo>
                      <a:pt x="1208" y="8443"/>
                      <a:pt x="16924" y="-1368"/>
                      <a:pt x="35308" y="156"/>
                    </a:cubicBezTo>
                    <a:cubicBezTo>
                      <a:pt x="53691" y="1680"/>
                      <a:pt x="67598" y="13967"/>
                      <a:pt x="66455" y="275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íśľîḋé"/>
              <p:cNvSpPr/>
              <p:nvPr/>
            </p:nvSpPr>
            <p:spPr>
              <a:xfrm>
                <a:off x="3206066" y="3634984"/>
                <a:ext cx="66520" cy="49651"/>
              </a:xfrm>
              <a:custGeom>
                <a:avLst/>
                <a:gdLst>
                  <a:gd name="connsiteX0" fmla="*/ 66455 w 66520"/>
                  <a:gd name="connsiteY0" fmla="*/ 27588 h 49651"/>
                  <a:gd name="connsiteX1" fmla="*/ 31212 w 66520"/>
                  <a:gd name="connsiteY1" fmla="*/ 49496 h 49651"/>
                  <a:gd name="connsiteX2" fmla="*/ 65 w 66520"/>
                  <a:gd name="connsiteY2" fmla="*/ 22064 h 49651"/>
                  <a:gd name="connsiteX3" fmla="*/ 35308 w 66520"/>
                  <a:gd name="connsiteY3" fmla="*/ 156 h 49651"/>
                  <a:gd name="connsiteX4" fmla="*/ 66455 w 66520"/>
                  <a:gd name="connsiteY4" fmla="*/ 27588 h 49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20" h="49651">
                    <a:moveTo>
                      <a:pt x="66455" y="27588"/>
                    </a:moveTo>
                    <a:cubicBezTo>
                      <a:pt x="65312" y="41209"/>
                      <a:pt x="49595" y="51020"/>
                      <a:pt x="31212" y="49496"/>
                    </a:cubicBezTo>
                    <a:cubicBezTo>
                      <a:pt x="12924" y="47972"/>
                      <a:pt x="-1078" y="35684"/>
                      <a:pt x="65" y="22064"/>
                    </a:cubicBezTo>
                    <a:cubicBezTo>
                      <a:pt x="1209" y="8443"/>
                      <a:pt x="16925" y="-1368"/>
                      <a:pt x="35308" y="156"/>
                    </a:cubicBezTo>
                    <a:cubicBezTo>
                      <a:pt x="53691" y="1680"/>
                      <a:pt x="67598" y="13967"/>
                      <a:pt x="66455" y="275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íşlide"/>
              <p:cNvSpPr/>
              <p:nvPr/>
            </p:nvSpPr>
            <p:spPr>
              <a:xfrm>
                <a:off x="3446766" y="3656033"/>
                <a:ext cx="39571" cy="39558"/>
              </a:xfrm>
              <a:custGeom>
                <a:avLst/>
                <a:gdLst>
                  <a:gd name="connsiteX0" fmla="*/ 39496 w 39571"/>
                  <a:gd name="connsiteY0" fmla="*/ 21398 h 39558"/>
                  <a:gd name="connsiteX1" fmla="*/ 18160 w 39571"/>
                  <a:gd name="connsiteY1" fmla="*/ 39496 h 39558"/>
                  <a:gd name="connsiteX2" fmla="*/ 62 w 39571"/>
                  <a:gd name="connsiteY2" fmla="*/ 18160 h 39558"/>
                  <a:gd name="connsiteX3" fmla="*/ 21398 w 39571"/>
                  <a:gd name="connsiteY3" fmla="*/ 62 h 39558"/>
                  <a:gd name="connsiteX4" fmla="*/ 39496 w 39571"/>
                  <a:gd name="connsiteY4" fmla="*/ 21398 h 39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71" h="39558">
                    <a:moveTo>
                      <a:pt x="39496" y="21398"/>
                    </a:moveTo>
                    <a:cubicBezTo>
                      <a:pt x="38543" y="32257"/>
                      <a:pt x="29018" y="40353"/>
                      <a:pt x="18160" y="39496"/>
                    </a:cubicBezTo>
                    <a:cubicBezTo>
                      <a:pt x="7301" y="38543"/>
                      <a:pt x="-795" y="29018"/>
                      <a:pt x="62" y="18160"/>
                    </a:cubicBezTo>
                    <a:cubicBezTo>
                      <a:pt x="1015" y="7301"/>
                      <a:pt x="10540" y="-795"/>
                      <a:pt x="21398" y="62"/>
                    </a:cubicBezTo>
                    <a:cubicBezTo>
                      <a:pt x="32352" y="920"/>
                      <a:pt x="40448" y="10445"/>
                      <a:pt x="39496" y="21398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iṣliďe"/>
              <p:cNvSpPr/>
              <p:nvPr/>
            </p:nvSpPr>
            <p:spPr>
              <a:xfrm>
                <a:off x="3213213" y="3636602"/>
                <a:ext cx="39572" cy="39558"/>
              </a:xfrm>
              <a:custGeom>
                <a:avLst/>
                <a:gdLst>
                  <a:gd name="connsiteX0" fmla="*/ 39496 w 39572"/>
                  <a:gd name="connsiteY0" fmla="*/ 21398 h 39558"/>
                  <a:gd name="connsiteX1" fmla="*/ 18160 w 39572"/>
                  <a:gd name="connsiteY1" fmla="*/ 39496 h 39558"/>
                  <a:gd name="connsiteX2" fmla="*/ 62 w 39572"/>
                  <a:gd name="connsiteY2" fmla="*/ 18160 h 39558"/>
                  <a:gd name="connsiteX3" fmla="*/ 21398 w 39572"/>
                  <a:gd name="connsiteY3" fmla="*/ 62 h 39558"/>
                  <a:gd name="connsiteX4" fmla="*/ 39496 w 39572"/>
                  <a:gd name="connsiteY4" fmla="*/ 21398 h 39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72" h="39558">
                    <a:moveTo>
                      <a:pt x="39496" y="21398"/>
                    </a:moveTo>
                    <a:cubicBezTo>
                      <a:pt x="38543" y="32257"/>
                      <a:pt x="29018" y="40353"/>
                      <a:pt x="18160" y="39496"/>
                    </a:cubicBezTo>
                    <a:cubicBezTo>
                      <a:pt x="7301" y="38543"/>
                      <a:pt x="-795" y="29018"/>
                      <a:pt x="62" y="18160"/>
                    </a:cubicBezTo>
                    <a:cubicBezTo>
                      <a:pt x="1015" y="7301"/>
                      <a:pt x="10540" y="-795"/>
                      <a:pt x="21398" y="62"/>
                    </a:cubicBezTo>
                    <a:cubicBezTo>
                      <a:pt x="32352" y="920"/>
                      <a:pt x="40448" y="10445"/>
                      <a:pt x="39496" y="21398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8" name="î$ļiďè"/>
              <p:cNvSpPr/>
              <p:nvPr/>
            </p:nvSpPr>
            <p:spPr>
              <a:xfrm>
                <a:off x="3301586" y="3686480"/>
                <a:ext cx="55136" cy="131445"/>
              </a:xfrm>
              <a:custGeom>
                <a:avLst/>
                <a:gdLst>
                  <a:gd name="connsiteX0" fmla="*/ 55136 w 55136"/>
                  <a:gd name="connsiteY0" fmla="*/ 0 h 131445"/>
                  <a:gd name="connsiteX1" fmla="*/ 44182 w 55136"/>
                  <a:gd name="connsiteY1" fmla="*/ 131445 h 131445"/>
                  <a:gd name="connsiteX2" fmla="*/ 55136 w 55136"/>
                  <a:gd name="connsiteY2" fmla="*/ 0 h 131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136" h="131445">
                    <a:moveTo>
                      <a:pt x="55136" y="0"/>
                    </a:moveTo>
                    <a:lnTo>
                      <a:pt x="44182" y="131445"/>
                    </a:lnTo>
                    <a:cubicBezTo>
                      <a:pt x="-61259" y="122682"/>
                      <a:pt x="55136" y="0"/>
                      <a:pt x="55136" y="0"/>
                    </a:cubicBezTo>
                    <a:close/>
                  </a:path>
                </a:pathLst>
              </a:custGeom>
              <a:solidFill>
                <a:srgbClr val="F3979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iṥḻíḋé"/>
              <p:cNvSpPr/>
              <p:nvPr/>
            </p:nvSpPr>
            <p:spPr>
              <a:xfrm>
                <a:off x="3285379" y="3855072"/>
                <a:ext cx="113728" cy="18055"/>
              </a:xfrm>
              <a:custGeom>
                <a:avLst/>
                <a:gdLst>
                  <a:gd name="connsiteX0" fmla="*/ 113729 w 113728"/>
                  <a:gd name="connsiteY0" fmla="*/ 9430 h 18055"/>
                  <a:gd name="connsiteX1" fmla="*/ 0 w 113728"/>
                  <a:gd name="connsiteY1" fmla="*/ 0 h 18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28" h="18055">
                    <a:moveTo>
                      <a:pt x="113729" y="9430"/>
                    </a:moveTo>
                    <a:cubicBezTo>
                      <a:pt x="113729" y="9430"/>
                      <a:pt x="54388" y="34099"/>
                      <a:pt x="0" y="0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iṧlïḍè"/>
              <p:cNvSpPr/>
              <p:nvPr/>
            </p:nvSpPr>
            <p:spPr>
              <a:xfrm>
                <a:off x="3439780" y="3628835"/>
                <a:ext cx="72675" cy="15163"/>
              </a:xfrm>
              <a:custGeom>
                <a:avLst/>
                <a:gdLst>
                  <a:gd name="connsiteX0" fmla="*/ 0 w 72675"/>
                  <a:gd name="connsiteY0" fmla="*/ 9068 h 15163"/>
                  <a:gd name="connsiteX1" fmla="*/ 72676 w 72675"/>
                  <a:gd name="connsiteY1" fmla="*/ 15164 h 1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75" h="15163">
                    <a:moveTo>
                      <a:pt x="0" y="9068"/>
                    </a:moveTo>
                    <a:cubicBezTo>
                      <a:pt x="0" y="9068"/>
                      <a:pt x="38576" y="-14935"/>
                      <a:pt x="72676" y="1516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ï$ḷiḓé"/>
              <p:cNvSpPr/>
              <p:nvPr/>
            </p:nvSpPr>
            <p:spPr>
              <a:xfrm>
                <a:off x="3206227" y="3609403"/>
                <a:ext cx="72675" cy="15163"/>
              </a:xfrm>
              <a:custGeom>
                <a:avLst/>
                <a:gdLst>
                  <a:gd name="connsiteX0" fmla="*/ 0 w 72675"/>
                  <a:gd name="connsiteY0" fmla="*/ 9068 h 15163"/>
                  <a:gd name="connsiteX1" fmla="*/ 72676 w 72675"/>
                  <a:gd name="connsiteY1" fmla="*/ 15164 h 1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75" h="15163">
                    <a:moveTo>
                      <a:pt x="0" y="9068"/>
                    </a:moveTo>
                    <a:cubicBezTo>
                      <a:pt x="0" y="9068"/>
                      <a:pt x="38576" y="-14935"/>
                      <a:pt x="72676" y="1516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ïṧḻïďe"/>
              <p:cNvSpPr/>
              <p:nvPr/>
            </p:nvSpPr>
            <p:spPr>
              <a:xfrm>
                <a:off x="3438256" y="3732581"/>
                <a:ext cx="140779" cy="140779"/>
              </a:xfrm>
              <a:custGeom>
                <a:avLst/>
                <a:gdLst>
                  <a:gd name="connsiteX0" fmla="*/ 140780 w 140779"/>
                  <a:gd name="connsiteY0" fmla="*/ 70390 h 140779"/>
                  <a:gd name="connsiteX1" fmla="*/ 70390 w 140779"/>
                  <a:gd name="connsiteY1" fmla="*/ 140780 h 140779"/>
                  <a:gd name="connsiteX2" fmla="*/ 0 w 140779"/>
                  <a:gd name="connsiteY2" fmla="*/ 70390 h 140779"/>
                  <a:gd name="connsiteX3" fmla="*/ 70390 w 140779"/>
                  <a:gd name="connsiteY3" fmla="*/ 0 h 140779"/>
                  <a:gd name="connsiteX4" fmla="*/ 140780 w 140779"/>
                  <a:gd name="connsiteY4" fmla="*/ 70390 h 1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779" h="140779">
                    <a:moveTo>
                      <a:pt x="140780" y="70390"/>
                    </a:moveTo>
                    <a:cubicBezTo>
                      <a:pt x="140780" y="109265"/>
                      <a:pt x="109265" y="140780"/>
                      <a:pt x="70390" y="140780"/>
                    </a:cubicBezTo>
                    <a:cubicBezTo>
                      <a:pt x="31514" y="140780"/>
                      <a:pt x="0" y="109265"/>
                      <a:pt x="0" y="70390"/>
                    </a:cubicBezTo>
                    <a:cubicBezTo>
                      <a:pt x="0" y="31515"/>
                      <a:pt x="31514" y="0"/>
                      <a:pt x="70390" y="0"/>
                    </a:cubicBezTo>
                    <a:cubicBezTo>
                      <a:pt x="109265" y="0"/>
                      <a:pt x="140780" y="31515"/>
                      <a:pt x="140780" y="70390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îṩḻïḋê"/>
              <p:cNvSpPr/>
              <p:nvPr/>
            </p:nvSpPr>
            <p:spPr>
              <a:xfrm>
                <a:off x="3130612" y="3705090"/>
                <a:ext cx="118725" cy="140801"/>
              </a:xfrm>
              <a:custGeom>
                <a:avLst/>
                <a:gdLst>
                  <a:gd name="connsiteX0" fmla="*/ 54183 w 118725"/>
                  <a:gd name="connsiteY0" fmla="*/ 249 h 140801"/>
                  <a:gd name="connsiteX1" fmla="*/ 118477 w 118725"/>
                  <a:gd name="connsiteY1" fmla="*/ 76259 h 140801"/>
                  <a:gd name="connsiteX2" fmla="*/ 42467 w 118725"/>
                  <a:gd name="connsiteY2" fmla="*/ 140553 h 140801"/>
                  <a:gd name="connsiteX3" fmla="*/ 6748 w 118725"/>
                  <a:gd name="connsiteY3" fmla="*/ 126932 h 140801"/>
                  <a:gd name="connsiteX4" fmla="*/ 1034 w 118725"/>
                  <a:gd name="connsiteY4" fmla="*/ 18442 h 140801"/>
                  <a:gd name="connsiteX5" fmla="*/ 54183 w 118725"/>
                  <a:gd name="connsiteY5" fmla="*/ 249 h 140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725" h="140801">
                    <a:moveTo>
                      <a:pt x="54183" y="249"/>
                    </a:moveTo>
                    <a:cubicBezTo>
                      <a:pt x="92950" y="3488"/>
                      <a:pt x="121715" y="37492"/>
                      <a:pt x="118477" y="76259"/>
                    </a:cubicBezTo>
                    <a:cubicBezTo>
                      <a:pt x="115238" y="115026"/>
                      <a:pt x="81234" y="143791"/>
                      <a:pt x="42467" y="140553"/>
                    </a:cubicBezTo>
                    <a:cubicBezTo>
                      <a:pt x="29037" y="139410"/>
                      <a:pt x="16845" y="134457"/>
                      <a:pt x="6748" y="126932"/>
                    </a:cubicBezTo>
                    <a:cubicBezTo>
                      <a:pt x="557" y="94642"/>
                      <a:pt x="-1443" y="58257"/>
                      <a:pt x="1034" y="18442"/>
                    </a:cubicBezTo>
                    <a:cubicBezTo>
                      <a:pt x="14940" y="5774"/>
                      <a:pt x="33800" y="-1465"/>
                      <a:pt x="54183" y="249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ïṡľiḍé"/>
              <p:cNvSpPr/>
              <p:nvPr/>
            </p:nvSpPr>
            <p:spPr>
              <a:xfrm>
                <a:off x="3065733" y="3309937"/>
                <a:ext cx="576151" cy="359302"/>
              </a:xfrm>
              <a:custGeom>
                <a:avLst/>
                <a:gdLst>
                  <a:gd name="connsiteX0" fmla="*/ 0 w 576151"/>
                  <a:gd name="connsiteY0" fmla="*/ 310630 h 359302"/>
                  <a:gd name="connsiteX1" fmla="*/ 480251 w 576151"/>
                  <a:gd name="connsiteY1" fmla="*/ 145752 h 359302"/>
                  <a:gd name="connsiteX2" fmla="*/ 561785 w 576151"/>
                  <a:gd name="connsiteY2" fmla="*/ 359303 h 359302"/>
                  <a:gd name="connsiteX3" fmla="*/ 345662 w 576151"/>
                  <a:gd name="connsiteY3" fmla="*/ 1448 h 359302"/>
                  <a:gd name="connsiteX4" fmla="*/ 0 w 576151"/>
                  <a:gd name="connsiteY4" fmla="*/ 310630 h 35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151" h="359302">
                    <a:moveTo>
                      <a:pt x="0" y="310630"/>
                    </a:moveTo>
                    <a:cubicBezTo>
                      <a:pt x="0" y="310630"/>
                      <a:pt x="235458" y="352921"/>
                      <a:pt x="480251" y="145752"/>
                    </a:cubicBezTo>
                    <a:cubicBezTo>
                      <a:pt x="469583" y="273959"/>
                      <a:pt x="561785" y="359303"/>
                      <a:pt x="561785" y="359303"/>
                    </a:cubicBezTo>
                    <a:cubicBezTo>
                      <a:pt x="561785" y="359303"/>
                      <a:pt x="659416" y="27547"/>
                      <a:pt x="345662" y="1448"/>
                    </a:cubicBezTo>
                    <a:cubicBezTo>
                      <a:pt x="31909" y="-24650"/>
                      <a:pt x="0" y="310630"/>
                      <a:pt x="0" y="310630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ïşļíďe"/>
              <p:cNvSpPr/>
              <p:nvPr/>
            </p:nvSpPr>
            <p:spPr>
              <a:xfrm>
                <a:off x="2691972" y="5752071"/>
                <a:ext cx="270891" cy="249459"/>
              </a:xfrm>
              <a:custGeom>
                <a:avLst/>
                <a:gdLst>
                  <a:gd name="connsiteX0" fmla="*/ 0 w 270891"/>
                  <a:gd name="connsiteY0" fmla="*/ 178879 h 249459"/>
                  <a:gd name="connsiteX1" fmla="*/ 211264 w 270891"/>
                  <a:gd name="connsiteY1" fmla="*/ 0 h 249459"/>
                  <a:gd name="connsiteX2" fmla="*/ 270891 w 270891"/>
                  <a:gd name="connsiteY2" fmla="*/ 70390 h 249459"/>
                  <a:gd name="connsiteX3" fmla="*/ 59246 w 270891"/>
                  <a:gd name="connsiteY3" fmla="*/ 249460 h 2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0891" h="249459">
                    <a:moveTo>
                      <a:pt x="0" y="178879"/>
                    </a:moveTo>
                    <a:lnTo>
                      <a:pt x="211264" y="0"/>
                    </a:lnTo>
                    <a:lnTo>
                      <a:pt x="270891" y="70390"/>
                    </a:lnTo>
                    <a:lnTo>
                      <a:pt x="59246" y="24946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ïṩlïḋé"/>
              <p:cNvSpPr/>
              <p:nvPr/>
            </p:nvSpPr>
            <p:spPr>
              <a:xfrm>
                <a:off x="3427016" y="5801506"/>
                <a:ext cx="249174" cy="271176"/>
              </a:xfrm>
              <a:custGeom>
                <a:avLst/>
                <a:gdLst>
                  <a:gd name="connsiteX0" fmla="*/ 249174 w 249174"/>
                  <a:gd name="connsiteY0" fmla="*/ 211264 h 271176"/>
                  <a:gd name="connsiteX1" fmla="*/ 70390 w 249174"/>
                  <a:gd name="connsiteY1" fmla="*/ 0 h 271176"/>
                  <a:gd name="connsiteX2" fmla="*/ 0 w 249174"/>
                  <a:gd name="connsiteY2" fmla="*/ 59627 h 271176"/>
                  <a:gd name="connsiteX3" fmla="*/ 179070 w 249174"/>
                  <a:gd name="connsiteY3" fmla="*/ 271177 h 27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74" h="271176">
                    <a:moveTo>
                      <a:pt x="249174" y="211264"/>
                    </a:moveTo>
                    <a:lnTo>
                      <a:pt x="70390" y="0"/>
                    </a:lnTo>
                    <a:lnTo>
                      <a:pt x="0" y="59627"/>
                    </a:lnTo>
                    <a:lnTo>
                      <a:pt x="179070" y="271177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íṩļiḋe"/>
              <p:cNvSpPr/>
              <p:nvPr/>
            </p:nvSpPr>
            <p:spPr>
              <a:xfrm>
                <a:off x="2691972" y="5752071"/>
                <a:ext cx="211264" cy="178879"/>
              </a:xfrm>
              <a:custGeom>
                <a:avLst/>
                <a:gdLst>
                  <a:gd name="connsiteX0" fmla="*/ 0 w 211264"/>
                  <a:gd name="connsiteY0" fmla="*/ 178879 h 178879"/>
                  <a:gd name="connsiteX1" fmla="*/ 211264 w 211264"/>
                  <a:gd name="connsiteY1" fmla="*/ 0 h 178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264" h="178879">
                    <a:moveTo>
                      <a:pt x="0" y="178879"/>
                    </a:moveTo>
                    <a:lnTo>
                      <a:pt x="211264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í$ḷîďê"/>
              <p:cNvSpPr/>
              <p:nvPr/>
            </p:nvSpPr>
            <p:spPr>
              <a:xfrm>
                <a:off x="3497406" y="5801506"/>
                <a:ext cx="178784" cy="211264"/>
              </a:xfrm>
              <a:custGeom>
                <a:avLst/>
                <a:gdLst>
                  <a:gd name="connsiteX0" fmla="*/ 0 w 178784"/>
                  <a:gd name="connsiteY0" fmla="*/ 0 h 211264"/>
                  <a:gd name="connsiteX1" fmla="*/ 178784 w 178784"/>
                  <a:gd name="connsiteY1" fmla="*/ 211264 h 211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784" h="211264">
                    <a:moveTo>
                      <a:pt x="0" y="0"/>
                    </a:moveTo>
                    <a:lnTo>
                      <a:pt x="178784" y="211264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9" name="ï$ļíďe"/>
              <p:cNvSpPr/>
              <p:nvPr/>
            </p:nvSpPr>
            <p:spPr>
              <a:xfrm>
                <a:off x="3130312" y="3647715"/>
                <a:ext cx="505204" cy="377267"/>
              </a:xfrm>
              <a:custGeom>
                <a:avLst/>
                <a:gdLst>
                  <a:gd name="connsiteX0" fmla="*/ 473393 w 505204"/>
                  <a:gd name="connsiteY0" fmla="*/ 187736 h 377267"/>
                  <a:gd name="connsiteX1" fmla="*/ 460820 w 505204"/>
                  <a:gd name="connsiteY1" fmla="*/ 223550 h 377267"/>
                  <a:gd name="connsiteX2" fmla="*/ 422053 w 505204"/>
                  <a:gd name="connsiteY2" fmla="*/ 122966 h 377267"/>
                  <a:gd name="connsiteX3" fmla="*/ 504349 w 505204"/>
                  <a:gd name="connsiteY3" fmla="*/ 7523 h 377267"/>
                  <a:gd name="connsiteX4" fmla="*/ 503111 w 505204"/>
                  <a:gd name="connsiteY4" fmla="*/ 856 h 377267"/>
                  <a:gd name="connsiteX5" fmla="*/ 496253 w 505204"/>
                  <a:gd name="connsiteY5" fmla="*/ 2094 h 377267"/>
                  <a:gd name="connsiteX6" fmla="*/ 414528 w 505204"/>
                  <a:gd name="connsiteY6" fmla="*/ 116584 h 377267"/>
                  <a:gd name="connsiteX7" fmla="*/ 243269 w 505204"/>
                  <a:gd name="connsiteY7" fmla="*/ 102297 h 377267"/>
                  <a:gd name="connsiteX8" fmla="*/ 0 w 505204"/>
                  <a:gd name="connsiteY8" fmla="*/ 87533 h 377267"/>
                  <a:gd name="connsiteX9" fmla="*/ 5429 w 505204"/>
                  <a:gd name="connsiteY9" fmla="*/ 203262 h 377267"/>
                  <a:gd name="connsiteX10" fmla="*/ 214217 w 505204"/>
                  <a:gd name="connsiteY10" fmla="*/ 376427 h 377267"/>
                  <a:gd name="connsiteX11" fmla="*/ 463010 w 505204"/>
                  <a:gd name="connsiteY11" fmla="*/ 240600 h 377267"/>
                  <a:gd name="connsiteX12" fmla="*/ 463391 w 505204"/>
                  <a:gd name="connsiteY12" fmla="*/ 240790 h 377267"/>
                  <a:gd name="connsiteX13" fmla="*/ 483394 w 505204"/>
                  <a:gd name="connsiteY13" fmla="*/ 189070 h 377267"/>
                  <a:gd name="connsiteX14" fmla="*/ 473393 w 505204"/>
                  <a:gd name="connsiteY14" fmla="*/ 187736 h 37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5204" h="377267">
                    <a:moveTo>
                      <a:pt x="473393" y="187736"/>
                    </a:moveTo>
                    <a:cubicBezTo>
                      <a:pt x="473393" y="187736"/>
                      <a:pt x="464248" y="215644"/>
                      <a:pt x="460820" y="223550"/>
                    </a:cubicBezTo>
                    <a:cubicBezTo>
                      <a:pt x="435673" y="180402"/>
                      <a:pt x="425196" y="138111"/>
                      <a:pt x="422053" y="122966"/>
                    </a:cubicBezTo>
                    <a:lnTo>
                      <a:pt x="504349" y="7523"/>
                    </a:lnTo>
                    <a:cubicBezTo>
                      <a:pt x="505873" y="5332"/>
                      <a:pt x="505301" y="2380"/>
                      <a:pt x="503111" y="856"/>
                    </a:cubicBezTo>
                    <a:cubicBezTo>
                      <a:pt x="500825" y="-668"/>
                      <a:pt x="497777" y="-97"/>
                      <a:pt x="496253" y="2094"/>
                    </a:cubicBezTo>
                    <a:lnTo>
                      <a:pt x="414528" y="116584"/>
                    </a:lnTo>
                    <a:lnTo>
                      <a:pt x="243269" y="102297"/>
                    </a:lnTo>
                    <a:lnTo>
                      <a:pt x="0" y="87533"/>
                    </a:lnTo>
                    <a:cubicBezTo>
                      <a:pt x="0" y="87533"/>
                      <a:pt x="571" y="174877"/>
                      <a:pt x="5429" y="203262"/>
                    </a:cubicBezTo>
                    <a:cubicBezTo>
                      <a:pt x="21622" y="297655"/>
                      <a:pt x="109919" y="367759"/>
                      <a:pt x="214217" y="376427"/>
                    </a:cubicBezTo>
                    <a:cubicBezTo>
                      <a:pt x="318516" y="385094"/>
                      <a:pt x="419386" y="325849"/>
                      <a:pt x="463010" y="240600"/>
                    </a:cubicBezTo>
                    <a:lnTo>
                      <a:pt x="463391" y="240790"/>
                    </a:lnTo>
                    <a:cubicBezTo>
                      <a:pt x="463868" y="239933"/>
                      <a:pt x="483394" y="189070"/>
                      <a:pt x="483394" y="189070"/>
                    </a:cubicBezTo>
                    <a:lnTo>
                      <a:pt x="473393" y="187736"/>
                    </a:ln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80" name="图形 278"/>
              <p:cNvGrpSpPr/>
              <p:nvPr/>
            </p:nvGrpSpPr>
            <p:grpSpPr>
              <a:xfrm>
                <a:off x="3092308" y="3140768"/>
                <a:ext cx="642175" cy="354830"/>
                <a:chOff x="3092308" y="3140768"/>
                <a:chExt cx="642175" cy="354830"/>
              </a:xfrm>
              <a:solidFill>
                <a:schemeClr val="accent1"/>
              </a:solidFill>
            </p:grpSpPr>
            <p:sp>
              <p:nvSpPr>
                <p:cNvPr id="81" name="iŝḷiḍê"/>
                <p:cNvSpPr/>
                <p:nvPr/>
              </p:nvSpPr>
              <p:spPr>
                <a:xfrm>
                  <a:off x="3092308" y="3140768"/>
                  <a:ext cx="642175" cy="354830"/>
                </a:xfrm>
                <a:custGeom>
                  <a:avLst/>
                  <a:gdLst>
                    <a:gd name="connsiteX0" fmla="*/ 517017 w 642175"/>
                    <a:gd name="connsiteY0" fmla="*/ 354831 h 354830"/>
                    <a:gd name="connsiteX1" fmla="*/ 78200 w 642175"/>
                    <a:gd name="connsiteY1" fmla="*/ 318350 h 354830"/>
                    <a:gd name="connsiteX2" fmla="*/ 0 w 642175"/>
                    <a:gd name="connsiteY2" fmla="*/ 27742 h 354830"/>
                    <a:gd name="connsiteX3" fmla="*/ 642175 w 642175"/>
                    <a:gd name="connsiteY3" fmla="*/ 81177 h 354830"/>
                    <a:gd name="connsiteX4" fmla="*/ 517017 w 642175"/>
                    <a:gd name="connsiteY4" fmla="*/ 354831 h 354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2175" h="354830">
                      <a:moveTo>
                        <a:pt x="517017" y="354831"/>
                      </a:moveTo>
                      <a:cubicBezTo>
                        <a:pt x="377857" y="298538"/>
                        <a:pt x="224790" y="285774"/>
                        <a:pt x="78200" y="318350"/>
                      </a:cubicBezTo>
                      <a:cubicBezTo>
                        <a:pt x="53340" y="221195"/>
                        <a:pt x="27337" y="124326"/>
                        <a:pt x="0" y="27742"/>
                      </a:cubicBezTo>
                      <a:cubicBezTo>
                        <a:pt x="214313" y="-22740"/>
                        <a:pt x="439103" y="-3976"/>
                        <a:pt x="642175" y="81177"/>
                      </a:cubicBezTo>
                      <a:cubicBezTo>
                        <a:pt x="599313" y="171855"/>
                        <a:pt x="557594" y="263010"/>
                        <a:pt x="517017" y="354831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ïṡḻîďè"/>
                <p:cNvSpPr/>
                <p:nvPr/>
              </p:nvSpPr>
              <p:spPr>
                <a:xfrm>
                  <a:off x="3309287" y="3201943"/>
                  <a:ext cx="191261" cy="191262"/>
                </a:xfrm>
                <a:custGeom>
                  <a:avLst/>
                  <a:gdLst>
                    <a:gd name="connsiteX0" fmla="*/ 191262 w 191261"/>
                    <a:gd name="connsiteY0" fmla="*/ 67723 h 191262"/>
                    <a:gd name="connsiteX1" fmla="*/ 134207 w 191261"/>
                    <a:gd name="connsiteY1" fmla="*/ 62960 h 191262"/>
                    <a:gd name="connsiteX2" fmla="*/ 138970 w 191261"/>
                    <a:gd name="connsiteY2" fmla="*/ 6001 h 191262"/>
                    <a:gd name="connsiteX3" fmla="*/ 67723 w 191261"/>
                    <a:gd name="connsiteY3" fmla="*/ 0 h 191262"/>
                    <a:gd name="connsiteX4" fmla="*/ 62960 w 191261"/>
                    <a:gd name="connsiteY4" fmla="*/ 57055 h 191262"/>
                    <a:gd name="connsiteX5" fmla="*/ 6001 w 191261"/>
                    <a:gd name="connsiteY5" fmla="*/ 52292 h 191262"/>
                    <a:gd name="connsiteX6" fmla="*/ 0 w 191261"/>
                    <a:gd name="connsiteY6" fmla="*/ 123539 h 191262"/>
                    <a:gd name="connsiteX7" fmla="*/ 57055 w 191261"/>
                    <a:gd name="connsiteY7" fmla="*/ 128302 h 191262"/>
                    <a:gd name="connsiteX8" fmla="*/ 52292 w 191261"/>
                    <a:gd name="connsiteY8" fmla="*/ 185261 h 191262"/>
                    <a:gd name="connsiteX9" fmla="*/ 123539 w 191261"/>
                    <a:gd name="connsiteY9" fmla="*/ 191262 h 191262"/>
                    <a:gd name="connsiteX10" fmla="*/ 128302 w 191261"/>
                    <a:gd name="connsiteY10" fmla="*/ 134207 h 191262"/>
                    <a:gd name="connsiteX11" fmla="*/ 185261 w 191261"/>
                    <a:gd name="connsiteY11" fmla="*/ 138970 h 191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1261" h="191262">
                      <a:moveTo>
                        <a:pt x="191262" y="67723"/>
                      </a:moveTo>
                      <a:lnTo>
                        <a:pt x="134207" y="62960"/>
                      </a:lnTo>
                      <a:lnTo>
                        <a:pt x="138970" y="6001"/>
                      </a:lnTo>
                      <a:lnTo>
                        <a:pt x="67723" y="0"/>
                      </a:lnTo>
                      <a:lnTo>
                        <a:pt x="62960" y="57055"/>
                      </a:lnTo>
                      <a:lnTo>
                        <a:pt x="6001" y="52292"/>
                      </a:lnTo>
                      <a:lnTo>
                        <a:pt x="0" y="123539"/>
                      </a:lnTo>
                      <a:lnTo>
                        <a:pt x="57055" y="128302"/>
                      </a:lnTo>
                      <a:lnTo>
                        <a:pt x="52292" y="185261"/>
                      </a:lnTo>
                      <a:lnTo>
                        <a:pt x="123539" y="191262"/>
                      </a:lnTo>
                      <a:lnTo>
                        <a:pt x="128302" y="134207"/>
                      </a:lnTo>
                      <a:lnTo>
                        <a:pt x="185261" y="138970"/>
                      </a:lnTo>
                      <a:close/>
                    </a:path>
                  </a:pathLst>
                </a:custGeom>
                <a:solidFill>
                  <a:srgbClr val="4870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98" name="图形 278"/>
            <p:cNvGrpSpPr/>
            <p:nvPr userDrawn="1"/>
          </p:nvGrpSpPr>
          <p:grpSpPr>
            <a:xfrm rot="539182">
              <a:off x="9059197" y="948303"/>
              <a:ext cx="2927566" cy="4262031"/>
              <a:chOff x="7189961" y="3152438"/>
              <a:chExt cx="2291439" cy="3335940"/>
            </a:xfrm>
            <a:solidFill>
              <a:schemeClr val="accent1"/>
            </a:solidFill>
          </p:grpSpPr>
          <p:grpSp>
            <p:nvGrpSpPr>
              <p:cNvPr id="99" name="图形 278"/>
              <p:cNvGrpSpPr/>
              <p:nvPr/>
            </p:nvGrpSpPr>
            <p:grpSpPr>
              <a:xfrm>
                <a:off x="7189961" y="3391297"/>
                <a:ext cx="2291439" cy="3097081"/>
                <a:chOff x="7189961" y="3391297"/>
                <a:chExt cx="2291439" cy="3097081"/>
              </a:xfrm>
              <a:solidFill>
                <a:schemeClr val="accent1"/>
              </a:solidFill>
            </p:grpSpPr>
            <p:sp>
              <p:nvSpPr>
                <p:cNvPr id="107" name="iš1iḍê"/>
                <p:cNvSpPr/>
                <p:nvPr/>
              </p:nvSpPr>
              <p:spPr>
                <a:xfrm>
                  <a:off x="7386845" y="4138917"/>
                  <a:ext cx="941288" cy="1213008"/>
                </a:xfrm>
                <a:custGeom>
                  <a:avLst/>
                  <a:gdLst>
                    <a:gd name="connsiteX0" fmla="*/ 825342 w 941288"/>
                    <a:gd name="connsiteY0" fmla="*/ 0 h 1213008"/>
                    <a:gd name="connsiteX1" fmla="*/ 898970 w 941288"/>
                    <a:gd name="connsiteY1" fmla="*/ 566166 h 1213008"/>
                    <a:gd name="connsiteX2" fmla="*/ 672751 w 941288"/>
                    <a:gd name="connsiteY2" fmla="*/ 1171289 h 1213008"/>
                    <a:gd name="connsiteX3" fmla="*/ 21241 w 941288"/>
                    <a:gd name="connsiteY3" fmla="*/ 1213009 h 1213008"/>
                    <a:gd name="connsiteX4" fmla="*/ 0 w 941288"/>
                    <a:gd name="connsiteY4" fmla="*/ 1050036 h 1213008"/>
                    <a:gd name="connsiteX5" fmla="*/ 512159 w 941288"/>
                    <a:gd name="connsiteY5" fmla="*/ 928211 h 1213008"/>
                    <a:gd name="connsiteX6" fmla="*/ 825342 w 941288"/>
                    <a:gd name="connsiteY6" fmla="*/ 0 h 121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41288" h="1213008">
                      <a:moveTo>
                        <a:pt x="825342" y="0"/>
                      </a:moveTo>
                      <a:cubicBezTo>
                        <a:pt x="825342" y="0"/>
                        <a:pt x="868680" y="444055"/>
                        <a:pt x="898970" y="566166"/>
                      </a:cubicBezTo>
                      <a:cubicBezTo>
                        <a:pt x="1028033" y="1085945"/>
                        <a:pt x="835723" y="1150144"/>
                        <a:pt x="672751" y="1171289"/>
                      </a:cubicBezTo>
                      <a:cubicBezTo>
                        <a:pt x="509778" y="1192530"/>
                        <a:pt x="21241" y="1213009"/>
                        <a:pt x="21241" y="1213009"/>
                      </a:cubicBezTo>
                      <a:lnTo>
                        <a:pt x="0" y="1050036"/>
                      </a:lnTo>
                      <a:lnTo>
                        <a:pt x="512159" y="928211"/>
                      </a:lnTo>
                      <a:cubicBezTo>
                        <a:pt x="512255" y="928211"/>
                        <a:pt x="400336" y="201930"/>
                        <a:pt x="825342" y="0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íṧlíḓe"/>
                <p:cNvSpPr/>
                <p:nvPr/>
              </p:nvSpPr>
              <p:spPr>
                <a:xfrm>
                  <a:off x="8133795" y="6110783"/>
                  <a:ext cx="1049274" cy="210502"/>
                </a:xfrm>
                <a:custGeom>
                  <a:avLst/>
                  <a:gdLst>
                    <a:gd name="connsiteX0" fmla="*/ 0 w 1049274"/>
                    <a:gd name="connsiteY0" fmla="*/ 135064 h 210502"/>
                    <a:gd name="connsiteX1" fmla="*/ 9811 w 1049274"/>
                    <a:gd name="connsiteY1" fmla="*/ 210503 h 210502"/>
                    <a:gd name="connsiteX2" fmla="*/ 1049274 w 1049274"/>
                    <a:gd name="connsiteY2" fmla="*/ 75343 h 210502"/>
                    <a:gd name="connsiteX3" fmla="*/ 1038606 w 1049274"/>
                    <a:gd name="connsiteY3" fmla="*/ 0 h 210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9274" h="210502">
                      <a:moveTo>
                        <a:pt x="0" y="135064"/>
                      </a:moveTo>
                      <a:lnTo>
                        <a:pt x="9811" y="210503"/>
                      </a:lnTo>
                      <a:lnTo>
                        <a:pt x="1049274" y="75343"/>
                      </a:lnTo>
                      <a:lnTo>
                        <a:pt x="1038606" y="0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ïS1ïḑé"/>
                <p:cNvSpPr/>
                <p:nvPr/>
              </p:nvSpPr>
              <p:spPr>
                <a:xfrm>
                  <a:off x="7975366" y="4082051"/>
                  <a:ext cx="1224752" cy="2199705"/>
                </a:xfrm>
                <a:custGeom>
                  <a:avLst/>
                  <a:gdLst>
                    <a:gd name="connsiteX0" fmla="*/ 1224753 w 1224752"/>
                    <a:gd name="connsiteY0" fmla="*/ 2063498 h 2199705"/>
                    <a:gd name="connsiteX1" fmla="*/ 948147 w 1224752"/>
                    <a:gd name="connsiteY1" fmla="*/ 425769 h 2199705"/>
                    <a:gd name="connsiteX2" fmla="*/ 407889 w 1224752"/>
                    <a:gd name="connsiteY2" fmla="*/ 3526 h 2199705"/>
                    <a:gd name="connsiteX3" fmla="*/ 397602 w 1224752"/>
                    <a:gd name="connsiteY3" fmla="*/ 4860 h 2199705"/>
                    <a:gd name="connsiteX4" fmla="*/ 8410 w 1224752"/>
                    <a:gd name="connsiteY4" fmla="*/ 623889 h 2199705"/>
                    <a:gd name="connsiteX5" fmla="*/ 144713 w 1224752"/>
                    <a:gd name="connsiteY5" fmla="*/ 2199706 h 2199705"/>
                    <a:gd name="connsiteX6" fmla="*/ 1224753 w 1224752"/>
                    <a:gd name="connsiteY6" fmla="*/ 2063498 h 2199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24752" h="2199705">
                      <a:moveTo>
                        <a:pt x="1224753" y="2063498"/>
                      </a:moveTo>
                      <a:lnTo>
                        <a:pt x="948147" y="425769"/>
                      </a:lnTo>
                      <a:cubicBezTo>
                        <a:pt x="913667" y="160974"/>
                        <a:pt x="672970" y="-28478"/>
                        <a:pt x="407889" y="3526"/>
                      </a:cubicBezTo>
                      <a:cubicBezTo>
                        <a:pt x="404460" y="3907"/>
                        <a:pt x="401031" y="4383"/>
                        <a:pt x="397602" y="4860"/>
                      </a:cubicBezTo>
                      <a:cubicBezTo>
                        <a:pt x="51749" y="49818"/>
                        <a:pt x="-29118" y="335377"/>
                        <a:pt x="8410" y="623889"/>
                      </a:cubicBezTo>
                      <a:cubicBezTo>
                        <a:pt x="45939" y="912402"/>
                        <a:pt x="144713" y="2199706"/>
                        <a:pt x="144713" y="2199706"/>
                      </a:cubicBezTo>
                      <a:lnTo>
                        <a:pt x="1224753" y="2063498"/>
                      </a:ln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îṥľiḑé"/>
                <p:cNvSpPr/>
                <p:nvPr/>
              </p:nvSpPr>
              <p:spPr>
                <a:xfrm>
                  <a:off x="8494602" y="4076106"/>
                  <a:ext cx="940498" cy="2062109"/>
                </a:xfrm>
                <a:custGeom>
                  <a:avLst/>
                  <a:gdLst>
                    <a:gd name="connsiteX0" fmla="*/ 0 w 940498"/>
                    <a:gd name="connsiteY0" fmla="*/ 899 h 2062109"/>
                    <a:gd name="connsiteX1" fmla="*/ 48387 w 940498"/>
                    <a:gd name="connsiteY1" fmla="*/ 159586 h 2062109"/>
                    <a:gd name="connsiteX2" fmla="*/ 420624 w 940498"/>
                    <a:gd name="connsiteY2" fmla="*/ 1014550 h 2062109"/>
                    <a:gd name="connsiteX3" fmla="*/ 762476 w 940498"/>
                    <a:gd name="connsiteY3" fmla="*/ 2062109 h 2062109"/>
                    <a:gd name="connsiteX4" fmla="*/ 940498 w 940498"/>
                    <a:gd name="connsiteY4" fmla="*/ 2038964 h 2062109"/>
                    <a:gd name="connsiteX5" fmla="*/ 0 w 940498"/>
                    <a:gd name="connsiteY5" fmla="*/ 899 h 206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40498" h="2062109">
                      <a:moveTo>
                        <a:pt x="0" y="899"/>
                      </a:moveTo>
                      <a:lnTo>
                        <a:pt x="48387" y="159586"/>
                      </a:lnTo>
                      <a:cubicBezTo>
                        <a:pt x="139351" y="457909"/>
                        <a:pt x="267176" y="743087"/>
                        <a:pt x="420624" y="1014550"/>
                      </a:cubicBezTo>
                      <a:cubicBezTo>
                        <a:pt x="696563" y="1502420"/>
                        <a:pt x="762476" y="2062109"/>
                        <a:pt x="762476" y="2062109"/>
                      </a:cubicBezTo>
                      <a:lnTo>
                        <a:pt x="940498" y="2038964"/>
                      </a:lnTo>
                      <a:cubicBezTo>
                        <a:pt x="661416" y="-106924"/>
                        <a:pt x="0" y="899"/>
                        <a:pt x="0" y="899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1" name="ïś1ïdê"/>
                <p:cNvSpPr/>
                <p:nvPr/>
              </p:nvSpPr>
              <p:spPr>
                <a:xfrm>
                  <a:off x="7806156" y="4086530"/>
                  <a:ext cx="602911" cy="880776"/>
                </a:xfrm>
                <a:custGeom>
                  <a:avLst/>
                  <a:gdLst>
                    <a:gd name="connsiteX0" fmla="*/ 3027 w 602911"/>
                    <a:gd name="connsiteY0" fmla="*/ 843725 h 880776"/>
                    <a:gd name="connsiteX1" fmla="*/ 602912 w 602911"/>
                    <a:gd name="connsiteY1" fmla="*/ 880777 h 880776"/>
                    <a:gd name="connsiteX2" fmla="*/ 577194 w 602911"/>
                    <a:gd name="connsiteY2" fmla="*/ 0 h 880776"/>
                    <a:gd name="connsiteX3" fmla="*/ 3027 w 602911"/>
                    <a:gd name="connsiteY3" fmla="*/ 843725 h 88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2911" h="880776">
                      <a:moveTo>
                        <a:pt x="3027" y="843725"/>
                      </a:moveTo>
                      <a:lnTo>
                        <a:pt x="602912" y="880777"/>
                      </a:lnTo>
                      <a:lnTo>
                        <a:pt x="577194" y="0"/>
                      </a:lnTo>
                      <a:cubicBezTo>
                        <a:pt x="577194" y="0"/>
                        <a:pt x="-48599" y="20479"/>
                        <a:pt x="3027" y="843725"/>
                      </a:cubicBez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2" name="iŝlíḓe"/>
                <p:cNvSpPr/>
                <p:nvPr/>
              </p:nvSpPr>
              <p:spPr>
                <a:xfrm>
                  <a:off x="8383445" y="4077225"/>
                  <a:ext cx="770858" cy="867316"/>
                </a:xfrm>
                <a:custGeom>
                  <a:avLst/>
                  <a:gdLst>
                    <a:gd name="connsiteX0" fmla="*/ 770858 w 770858"/>
                    <a:gd name="connsiteY0" fmla="*/ 678055 h 867316"/>
                    <a:gd name="connsiteX1" fmla="*/ 200406 w 770858"/>
                    <a:gd name="connsiteY1" fmla="*/ 867316 h 867316"/>
                    <a:gd name="connsiteX2" fmla="*/ 0 w 770858"/>
                    <a:gd name="connsiteY2" fmla="*/ 9304 h 867316"/>
                    <a:gd name="connsiteX3" fmla="*/ 770858 w 770858"/>
                    <a:gd name="connsiteY3" fmla="*/ 678055 h 867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70858" h="867316">
                      <a:moveTo>
                        <a:pt x="770858" y="678055"/>
                      </a:moveTo>
                      <a:lnTo>
                        <a:pt x="200406" y="867316"/>
                      </a:lnTo>
                      <a:lnTo>
                        <a:pt x="0" y="9304"/>
                      </a:lnTo>
                      <a:cubicBezTo>
                        <a:pt x="-95" y="9304"/>
                        <a:pt x="610172" y="-130999"/>
                        <a:pt x="770858" y="678055"/>
                      </a:cubicBez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3" name="îṣḷïde"/>
                <p:cNvSpPr/>
                <p:nvPr/>
              </p:nvSpPr>
              <p:spPr>
                <a:xfrm>
                  <a:off x="8424307" y="4805667"/>
                  <a:ext cx="273610" cy="263594"/>
                </a:xfrm>
                <a:custGeom>
                  <a:avLst/>
                  <a:gdLst>
                    <a:gd name="connsiteX0" fmla="*/ 0 w 273610"/>
                    <a:gd name="connsiteY0" fmla="*/ 34766 h 263594"/>
                    <a:gd name="connsiteX1" fmla="*/ 267558 w 273610"/>
                    <a:gd name="connsiteY1" fmla="*/ 0 h 263594"/>
                    <a:gd name="connsiteX2" fmla="*/ 168497 w 273610"/>
                    <a:gd name="connsiteY2" fmla="*/ 262604 h 263594"/>
                    <a:gd name="connsiteX3" fmla="*/ 0 w 273610"/>
                    <a:gd name="connsiteY3" fmla="*/ 34766 h 263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3610" h="263594">
                      <a:moveTo>
                        <a:pt x="0" y="34766"/>
                      </a:moveTo>
                      <a:lnTo>
                        <a:pt x="267558" y="0"/>
                      </a:lnTo>
                      <a:cubicBezTo>
                        <a:pt x="267558" y="0"/>
                        <a:pt x="310325" y="244126"/>
                        <a:pt x="168497" y="262604"/>
                      </a:cubicBezTo>
                      <a:cubicBezTo>
                        <a:pt x="26670" y="281083"/>
                        <a:pt x="0" y="34766"/>
                        <a:pt x="0" y="34766"/>
                      </a:cubicBez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14" name="图形 278"/>
                <p:cNvGrpSpPr/>
                <p:nvPr/>
              </p:nvGrpSpPr>
              <p:grpSpPr>
                <a:xfrm>
                  <a:off x="8112380" y="4064149"/>
                  <a:ext cx="445184" cy="876665"/>
                  <a:chOff x="8112380" y="4064149"/>
                  <a:chExt cx="445184" cy="876665"/>
                </a:xfrm>
                <a:solidFill>
                  <a:schemeClr val="accent1"/>
                </a:solidFill>
              </p:grpSpPr>
              <p:sp>
                <p:nvSpPr>
                  <p:cNvPr id="138" name="ïṧḻîdè"/>
                  <p:cNvSpPr/>
                  <p:nvPr/>
                </p:nvSpPr>
                <p:spPr>
                  <a:xfrm>
                    <a:off x="8112380" y="4064149"/>
                    <a:ext cx="445184" cy="693893"/>
                  </a:xfrm>
                  <a:custGeom>
                    <a:avLst/>
                    <a:gdLst>
                      <a:gd name="connsiteX0" fmla="*/ 195247 w 445184"/>
                      <a:gd name="connsiteY0" fmla="*/ 950 h 693893"/>
                      <a:gd name="connsiteX1" fmla="*/ 195247 w 445184"/>
                      <a:gd name="connsiteY1" fmla="*/ 950 h 693893"/>
                      <a:gd name="connsiteX2" fmla="*/ 2080 w 445184"/>
                      <a:gd name="connsiteY2" fmla="*/ 229264 h 693893"/>
                      <a:gd name="connsiteX3" fmla="*/ 287734 w 445184"/>
                      <a:gd name="connsiteY3" fmla="*/ 693894 h 693893"/>
                      <a:gd name="connsiteX4" fmla="*/ 442706 w 445184"/>
                      <a:gd name="connsiteY4" fmla="*/ 171924 h 693893"/>
                      <a:gd name="connsiteX5" fmla="*/ 195247 w 445184"/>
                      <a:gd name="connsiteY5" fmla="*/ 950 h 693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5184" h="693893">
                        <a:moveTo>
                          <a:pt x="195247" y="950"/>
                        </a:moveTo>
                        <a:lnTo>
                          <a:pt x="195247" y="950"/>
                        </a:lnTo>
                        <a:cubicBezTo>
                          <a:pt x="172292" y="4950"/>
                          <a:pt x="-22114" y="43717"/>
                          <a:pt x="2080" y="229264"/>
                        </a:cubicBezTo>
                        <a:cubicBezTo>
                          <a:pt x="26178" y="414621"/>
                          <a:pt x="260779" y="669891"/>
                          <a:pt x="287734" y="693894"/>
                        </a:cubicBezTo>
                        <a:cubicBezTo>
                          <a:pt x="307737" y="663795"/>
                          <a:pt x="466804" y="357375"/>
                          <a:pt x="442706" y="171924"/>
                        </a:cubicBezTo>
                        <a:cubicBezTo>
                          <a:pt x="418608" y="-13623"/>
                          <a:pt x="218392" y="-1146"/>
                          <a:pt x="195247" y="950"/>
                        </a:cubicBezTo>
                        <a:close/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îsḷidè"/>
                  <p:cNvSpPr/>
                  <p:nvPr/>
                </p:nvSpPr>
                <p:spPr>
                  <a:xfrm rot="-444728">
                    <a:off x="8287102" y="4777466"/>
                    <a:ext cx="247353" cy="148011"/>
                  </a:xfrm>
                  <a:custGeom>
                    <a:avLst/>
                    <a:gdLst>
                      <a:gd name="connsiteX0" fmla="*/ 0 w 247353"/>
                      <a:gd name="connsiteY0" fmla="*/ 0 h 148011"/>
                      <a:gd name="connsiteX1" fmla="*/ 247353 w 247353"/>
                      <a:gd name="connsiteY1" fmla="*/ 0 h 148011"/>
                      <a:gd name="connsiteX2" fmla="*/ 247353 w 247353"/>
                      <a:gd name="connsiteY2" fmla="*/ 148012 h 148011"/>
                      <a:gd name="connsiteX3" fmla="*/ 0 w 247353"/>
                      <a:gd name="connsiteY3" fmla="*/ 148012 h 1480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7353" h="148011">
                        <a:moveTo>
                          <a:pt x="0" y="0"/>
                        </a:moveTo>
                        <a:lnTo>
                          <a:pt x="247353" y="0"/>
                        </a:lnTo>
                        <a:lnTo>
                          <a:pt x="247353" y="148012"/>
                        </a:lnTo>
                        <a:lnTo>
                          <a:pt x="0" y="1480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ïšlíḋe"/>
                  <p:cNvSpPr/>
                  <p:nvPr/>
                </p:nvSpPr>
                <p:spPr>
                  <a:xfrm>
                    <a:off x="8400114" y="4758042"/>
                    <a:ext cx="5238" cy="40195"/>
                  </a:xfrm>
                  <a:custGeom>
                    <a:avLst/>
                    <a:gdLst>
                      <a:gd name="connsiteX0" fmla="*/ 0 w 5238"/>
                      <a:gd name="connsiteY0" fmla="*/ 0 h 40195"/>
                      <a:gd name="connsiteX1" fmla="*/ 5239 w 5238"/>
                      <a:gd name="connsiteY1" fmla="*/ 40195 h 40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238" h="40195">
                        <a:moveTo>
                          <a:pt x="0" y="0"/>
                        </a:moveTo>
                        <a:lnTo>
                          <a:pt x="5239" y="40195"/>
                        </a:lnTo>
                      </a:path>
                    </a:pathLst>
                  </a:custGeom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" name="ïṥļídê"/>
                  <p:cNvSpPr/>
                  <p:nvPr/>
                </p:nvSpPr>
                <p:spPr>
                  <a:xfrm rot="-444728">
                    <a:off x="8314246" y="4825469"/>
                    <a:ext cx="56195" cy="56195"/>
                  </a:xfrm>
                  <a:custGeom>
                    <a:avLst/>
                    <a:gdLst>
                      <a:gd name="connsiteX0" fmla="*/ 0 w 56195"/>
                      <a:gd name="connsiteY0" fmla="*/ 0 h 56195"/>
                      <a:gd name="connsiteX1" fmla="*/ 56195 w 56195"/>
                      <a:gd name="connsiteY1" fmla="*/ 0 h 56195"/>
                      <a:gd name="connsiteX2" fmla="*/ 56195 w 56195"/>
                      <a:gd name="connsiteY2" fmla="*/ 56195 h 56195"/>
                      <a:gd name="connsiteX3" fmla="*/ 0 w 56195"/>
                      <a:gd name="connsiteY3" fmla="*/ 56195 h 56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6195" h="56195">
                        <a:moveTo>
                          <a:pt x="0" y="0"/>
                        </a:moveTo>
                        <a:lnTo>
                          <a:pt x="56195" y="0"/>
                        </a:lnTo>
                        <a:lnTo>
                          <a:pt x="56195" y="56195"/>
                        </a:lnTo>
                        <a:lnTo>
                          <a:pt x="0" y="56195"/>
                        </a:lnTo>
                        <a:close/>
                      </a:path>
                    </a:pathLst>
                  </a:custGeom>
                  <a:solidFill>
                    <a:srgbClr val="FCDFD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ïŝlide"/>
                  <p:cNvSpPr/>
                  <p:nvPr/>
                </p:nvSpPr>
                <p:spPr>
                  <a:xfrm rot="-444728">
                    <a:off x="8395003" y="4810799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" name="ïṧļíḍê"/>
                  <p:cNvSpPr/>
                  <p:nvPr/>
                </p:nvSpPr>
                <p:spPr>
                  <a:xfrm rot="-444728">
                    <a:off x="8397961" y="4834144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" name="îś1îde"/>
                  <p:cNvSpPr/>
                  <p:nvPr/>
                </p:nvSpPr>
                <p:spPr>
                  <a:xfrm rot="-444728">
                    <a:off x="8401014" y="4857477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" name="iSļïḋê"/>
                  <p:cNvSpPr/>
                  <p:nvPr/>
                </p:nvSpPr>
                <p:spPr>
                  <a:xfrm rot="-444728">
                    <a:off x="8404054" y="4880714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" name="ïśľîdè"/>
                  <p:cNvSpPr/>
                  <p:nvPr/>
                </p:nvSpPr>
                <p:spPr>
                  <a:xfrm rot="-444728">
                    <a:off x="8320244" y="4895577"/>
                    <a:ext cx="56195" cy="9143"/>
                  </a:xfrm>
                  <a:custGeom>
                    <a:avLst/>
                    <a:gdLst>
                      <a:gd name="connsiteX0" fmla="*/ 0 w 56195"/>
                      <a:gd name="connsiteY0" fmla="*/ 0 h 9143"/>
                      <a:gd name="connsiteX1" fmla="*/ 56195 w 56195"/>
                      <a:gd name="connsiteY1" fmla="*/ 0 h 9143"/>
                      <a:gd name="connsiteX2" fmla="*/ 56195 w 56195"/>
                      <a:gd name="connsiteY2" fmla="*/ 9144 h 9143"/>
                      <a:gd name="connsiteX3" fmla="*/ 0 w 56195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6195" h="9143">
                        <a:moveTo>
                          <a:pt x="0" y="0"/>
                        </a:moveTo>
                        <a:lnTo>
                          <a:pt x="56195" y="0"/>
                        </a:lnTo>
                        <a:lnTo>
                          <a:pt x="56195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CDFD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15" name="îṩḷiḑè"/>
                <p:cNvSpPr/>
                <p:nvPr/>
              </p:nvSpPr>
              <p:spPr>
                <a:xfrm>
                  <a:off x="7189961" y="4586669"/>
                  <a:ext cx="945073" cy="955584"/>
                </a:xfrm>
                <a:custGeom>
                  <a:avLst/>
                  <a:gdLst>
                    <a:gd name="connsiteX0" fmla="*/ 348140 w 945073"/>
                    <a:gd name="connsiteY0" fmla="*/ 954995 h 955584"/>
                    <a:gd name="connsiteX1" fmla="*/ 882588 w 945073"/>
                    <a:gd name="connsiteY1" fmla="*/ 885462 h 955584"/>
                    <a:gd name="connsiteX2" fmla="*/ 940786 w 945073"/>
                    <a:gd name="connsiteY2" fmla="*/ 790117 h 955584"/>
                    <a:gd name="connsiteX3" fmla="*/ 673609 w 945073"/>
                    <a:gd name="connsiteY3" fmla="*/ 47453 h 955584"/>
                    <a:gd name="connsiteX4" fmla="*/ 596933 w 945073"/>
                    <a:gd name="connsiteY4" fmla="*/ 590 h 955584"/>
                    <a:gd name="connsiteX5" fmla="*/ 62486 w 945073"/>
                    <a:gd name="connsiteY5" fmla="*/ 70122 h 955584"/>
                    <a:gd name="connsiteX6" fmla="*/ 4288 w 945073"/>
                    <a:gd name="connsiteY6" fmla="*/ 165467 h 955584"/>
                    <a:gd name="connsiteX7" fmla="*/ 271464 w 945073"/>
                    <a:gd name="connsiteY7" fmla="*/ 908132 h 955584"/>
                    <a:gd name="connsiteX8" fmla="*/ 348140 w 945073"/>
                    <a:gd name="connsiteY8" fmla="*/ 954995 h 95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45073" h="955584">
                      <a:moveTo>
                        <a:pt x="348140" y="954995"/>
                      </a:moveTo>
                      <a:lnTo>
                        <a:pt x="882588" y="885462"/>
                      </a:lnTo>
                      <a:cubicBezTo>
                        <a:pt x="928022" y="879557"/>
                        <a:pt x="956311" y="833170"/>
                        <a:pt x="940786" y="790117"/>
                      </a:cubicBezTo>
                      <a:lnTo>
                        <a:pt x="673609" y="47453"/>
                      </a:lnTo>
                      <a:cubicBezTo>
                        <a:pt x="662179" y="15734"/>
                        <a:pt x="630271" y="-3697"/>
                        <a:pt x="596933" y="590"/>
                      </a:cubicBezTo>
                      <a:lnTo>
                        <a:pt x="62486" y="70122"/>
                      </a:lnTo>
                      <a:cubicBezTo>
                        <a:pt x="17051" y="76028"/>
                        <a:pt x="-11238" y="122414"/>
                        <a:pt x="4288" y="165467"/>
                      </a:cubicBezTo>
                      <a:lnTo>
                        <a:pt x="271464" y="908132"/>
                      </a:lnTo>
                      <a:cubicBezTo>
                        <a:pt x="282799" y="939850"/>
                        <a:pt x="314707" y="959281"/>
                        <a:pt x="348140" y="954995"/>
                      </a:cubicBezTo>
                      <a:close/>
                    </a:path>
                  </a:pathLst>
                </a:custGeom>
                <a:solidFill>
                  <a:srgbClr val="5B7FC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16" name="图形 278"/>
                <p:cNvGrpSpPr/>
                <p:nvPr/>
              </p:nvGrpSpPr>
              <p:grpSpPr>
                <a:xfrm>
                  <a:off x="7989771" y="3391297"/>
                  <a:ext cx="568717" cy="959060"/>
                  <a:chOff x="7989771" y="3391297"/>
                  <a:chExt cx="568717" cy="959060"/>
                </a:xfrm>
                <a:solidFill>
                  <a:schemeClr val="accent1"/>
                </a:solidFill>
              </p:grpSpPr>
              <p:sp>
                <p:nvSpPr>
                  <p:cNvPr id="124" name="iṣ1îḋè"/>
                  <p:cNvSpPr/>
                  <p:nvPr/>
                </p:nvSpPr>
                <p:spPr>
                  <a:xfrm>
                    <a:off x="8130747" y="3941845"/>
                    <a:ext cx="319453" cy="408512"/>
                  </a:xfrm>
                  <a:custGeom>
                    <a:avLst/>
                    <a:gdLst>
                      <a:gd name="connsiteX0" fmla="*/ 193739 w 319453"/>
                      <a:gd name="connsiteY0" fmla="*/ 407289 h 408512"/>
                      <a:gd name="connsiteX1" fmla="*/ 193739 w 319453"/>
                      <a:gd name="connsiteY1" fmla="*/ 407289 h 408512"/>
                      <a:gd name="connsiteX2" fmla="*/ 318231 w 319453"/>
                      <a:gd name="connsiteY2" fmla="*/ 245554 h 408512"/>
                      <a:gd name="connsiteX3" fmla="*/ 286321 w 319453"/>
                      <a:gd name="connsiteY3" fmla="*/ 0 h 408512"/>
                      <a:gd name="connsiteX4" fmla="*/ 0 w 319453"/>
                      <a:gd name="connsiteY4" fmla="*/ 37243 h 408512"/>
                      <a:gd name="connsiteX5" fmla="*/ 31909 w 319453"/>
                      <a:gd name="connsiteY5" fmla="*/ 282797 h 408512"/>
                      <a:gd name="connsiteX6" fmla="*/ 193739 w 319453"/>
                      <a:gd name="connsiteY6" fmla="*/ 407289 h 4085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19453" h="408512">
                        <a:moveTo>
                          <a:pt x="193739" y="407289"/>
                        </a:moveTo>
                        <a:lnTo>
                          <a:pt x="193739" y="407289"/>
                        </a:lnTo>
                        <a:cubicBezTo>
                          <a:pt x="272796" y="397002"/>
                          <a:pt x="328518" y="324612"/>
                          <a:pt x="318231" y="245554"/>
                        </a:cubicBezTo>
                        <a:lnTo>
                          <a:pt x="286321" y="0"/>
                        </a:lnTo>
                        <a:lnTo>
                          <a:pt x="0" y="37243"/>
                        </a:lnTo>
                        <a:lnTo>
                          <a:pt x="31909" y="282797"/>
                        </a:lnTo>
                        <a:cubicBezTo>
                          <a:pt x="42196" y="361855"/>
                          <a:pt x="114681" y="417576"/>
                          <a:pt x="193739" y="407289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5" name="ïṣľíḓê"/>
                  <p:cNvSpPr/>
                  <p:nvPr/>
                </p:nvSpPr>
                <p:spPr>
                  <a:xfrm>
                    <a:off x="7989771" y="3391297"/>
                    <a:ext cx="503467" cy="666664"/>
                  </a:xfrm>
                  <a:custGeom>
                    <a:avLst/>
                    <a:gdLst>
                      <a:gd name="connsiteX0" fmla="*/ 14389 w 503467"/>
                      <a:gd name="connsiteY0" fmla="*/ 408530 h 666664"/>
                      <a:gd name="connsiteX1" fmla="*/ 271183 w 503467"/>
                      <a:gd name="connsiteY1" fmla="*/ 664562 h 666664"/>
                      <a:gd name="connsiteX2" fmla="*/ 500450 w 503467"/>
                      <a:gd name="connsiteY2" fmla="*/ 345284 h 666664"/>
                      <a:gd name="connsiteX3" fmla="*/ 208890 w 503467"/>
                      <a:gd name="connsiteY3" fmla="*/ 3432 h 666664"/>
                      <a:gd name="connsiteX4" fmla="*/ 14389 w 503467"/>
                      <a:gd name="connsiteY4" fmla="*/ 408530 h 6666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3467" h="666664">
                        <a:moveTo>
                          <a:pt x="14389" y="408530"/>
                        </a:moveTo>
                        <a:cubicBezTo>
                          <a:pt x="38106" y="590553"/>
                          <a:pt x="136976" y="681993"/>
                          <a:pt x="271183" y="664562"/>
                        </a:cubicBezTo>
                        <a:cubicBezTo>
                          <a:pt x="405390" y="647131"/>
                          <a:pt x="524072" y="527307"/>
                          <a:pt x="500450" y="345284"/>
                        </a:cubicBezTo>
                        <a:cubicBezTo>
                          <a:pt x="476732" y="163261"/>
                          <a:pt x="451872" y="-28096"/>
                          <a:pt x="208890" y="3432"/>
                        </a:cubicBezTo>
                        <a:cubicBezTo>
                          <a:pt x="-34188" y="35055"/>
                          <a:pt x="-9328" y="226507"/>
                          <a:pt x="14389" y="408530"/>
                        </a:cubicBezTo>
                        <a:close/>
                      </a:path>
                    </a:pathLst>
                  </a:custGeom>
                  <a:solidFill>
                    <a:srgbClr val="F8C6C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6" name="i$ľîḋe"/>
                  <p:cNvSpPr/>
                  <p:nvPr/>
                </p:nvSpPr>
                <p:spPr>
                  <a:xfrm>
                    <a:off x="8454978" y="3652669"/>
                    <a:ext cx="103509" cy="175257"/>
                  </a:xfrm>
                  <a:custGeom>
                    <a:avLst/>
                    <a:gdLst>
                      <a:gd name="connsiteX0" fmla="*/ 102394 w 103509"/>
                      <a:gd name="connsiteY0" fmla="*/ 60100 h 175257"/>
                      <a:gd name="connsiteX1" fmla="*/ 21431 w 103509"/>
                      <a:gd name="connsiteY1" fmla="*/ 175257 h 175257"/>
                      <a:gd name="connsiteX2" fmla="*/ 0 w 103509"/>
                      <a:gd name="connsiteY2" fmla="*/ 10665 h 175257"/>
                      <a:gd name="connsiteX3" fmla="*/ 102394 w 103509"/>
                      <a:gd name="connsiteY3" fmla="*/ 60100 h 175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3509" h="175257">
                        <a:moveTo>
                          <a:pt x="102394" y="60100"/>
                        </a:moveTo>
                        <a:cubicBezTo>
                          <a:pt x="114681" y="154398"/>
                          <a:pt x="21431" y="175257"/>
                          <a:pt x="21431" y="175257"/>
                        </a:cubicBezTo>
                        <a:lnTo>
                          <a:pt x="0" y="10665"/>
                        </a:lnTo>
                        <a:cubicBezTo>
                          <a:pt x="95" y="10665"/>
                          <a:pt x="90201" y="-34197"/>
                          <a:pt x="102394" y="60100"/>
                        </a:cubicBezTo>
                        <a:close/>
                      </a:path>
                    </a:pathLst>
                  </a:custGeom>
                  <a:solidFill>
                    <a:srgbClr val="F8C6C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7" name="ísľíḋê"/>
                  <p:cNvSpPr/>
                  <p:nvPr/>
                </p:nvSpPr>
                <p:spPr>
                  <a:xfrm>
                    <a:off x="8477076" y="3692416"/>
                    <a:ext cx="50379" cy="93981"/>
                  </a:xfrm>
                  <a:custGeom>
                    <a:avLst/>
                    <a:gdLst>
                      <a:gd name="connsiteX0" fmla="*/ 49720 w 50379"/>
                      <a:gd name="connsiteY0" fmla="*/ 32735 h 93981"/>
                      <a:gd name="connsiteX1" fmla="*/ 11525 w 50379"/>
                      <a:gd name="connsiteY1" fmla="*/ 93981 h 93981"/>
                      <a:gd name="connsiteX2" fmla="*/ 0 w 50379"/>
                      <a:gd name="connsiteY2" fmla="*/ 5399 h 93981"/>
                      <a:gd name="connsiteX3" fmla="*/ 49720 w 50379"/>
                      <a:gd name="connsiteY3" fmla="*/ 32735 h 939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0379" h="93981">
                        <a:moveTo>
                          <a:pt x="49720" y="32735"/>
                        </a:moveTo>
                        <a:cubicBezTo>
                          <a:pt x="56293" y="83504"/>
                          <a:pt x="11525" y="93981"/>
                          <a:pt x="11525" y="93981"/>
                        </a:cubicBezTo>
                        <a:lnTo>
                          <a:pt x="0" y="5399"/>
                        </a:lnTo>
                        <a:cubicBezTo>
                          <a:pt x="-95" y="5399"/>
                          <a:pt x="43053" y="-18033"/>
                          <a:pt x="49720" y="32735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8" name="îṡḷiďê"/>
                  <p:cNvSpPr/>
                  <p:nvPr/>
                </p:nvSpPr>
                <p:spPr>
                  <a:xfrm>
                    <a:off x="8297271" y="3672030"/>
                    <a:ext cx="66335" cy="49882"/>
                  </a:xfrm>
                  <a:custGeom>
                    <a:avLst/>
                    <a:gdLst>
                      <a:gd name="connsiteX0" fmla="*/ 66172 w 66335"/>
                      <a:gd name="connsiteY0" fmla="*/ 20641 h 49882"/>
                      <a:gd name="connsiteX1" fmla="*/ 36359 w 66335"/>
                      <a:gd name="connsiteY1" fmla="*/ 49502 h 49882"/>
                      <a:gd name="connsiteX2" fmla="*/ 163 w 66335"/>
                      <a:gd name="connsiteY2" fmla="*/ 29214 h 49882"/>
                      <a:gd name="connsiteX3" fmla="*/ 29977 w 66335"/>
                      <a:gd name="connsiteY3" fmla="*/ 353 h 49882"/>
                      <a:gd name="connsiteX4" fmla="*/ 66172 w 66335"/>
                      <a:gd name="connsiteY4" fmla="*/ 20641 h 498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35" h="49882">
                        <a:moveTo>
                          <a:pt x="66172" y="20641"/>
                        </a:moveTo>
                        <a:cubicBezTo>
                          <a:pt x="67981" y="34167"/>
                          <a:pt x="54551" y="47121"/>
                          <a:pt x="36359" y="49502"/>
                        </a:cubicBezTo>
                        <a:cubicBezTo>
                          <a:pt x="18166" y="51883"/>
                          <a:pt x="1878" y="42835"/>
                          <a:pt x="163" y="29214"/>
                        </a:cubicBezTo>
                        <a:cubicBezTo>
                          <a:pt x="-1646" y="15688"/>
                          <a:pt x="11784" y="2734"/>
                          <a:pt x="29977" y="353"/>
                        </a:cubicBezTo>
                        <a:cubicBezTo>
                          <a:pt x="48170" y="-1933"/>
                          <a:pt x="64362" y="7116"/>
                          <a:pt x="66172" y="2064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29" name="iṣḷïḑè"/>
                  <p:cNvSpPr/>
                  <p:nvPr/>
                </p:nvSpPr>
                <p:spPr>
                  <a:xfrm>
                    <a:off x="8064861" y="3702292"/>
                    <a:ext cx="66335" cy="49909"/>
                  </a:xfrm>
                  <a:custGeom>
                    <a:avLst/>
                    <a:gdLst>
                      <a:gd name="connsiteX0" fmla="*/ 66172 w 66335"/>
                      <a:gd name="connsiteY0" fmla="*/ 20668 h 49909"/>
                      <a:gd name="connsiteX1" fmla="*/ 36358 w 66335"/>
                      <a:gd name="connsiteY1" fmla="*/ 49529 h 49909"/>
                      <a:gd name="connsiteX2" fmla="*/ 163 w 66335"/>
                      <a:gd name="connsiteY2" fmla="*/ 29241 h 49909"/>
                      <a:gd name="connsiteX3" fmla="*/ 29977 w 66335"/>
                      <a:gd name="connsiteY3" fmla="*/ 380 h 49909"/>
                      <a:gd name="connsiteX4" fmla="*/ 66172 w 66335"/>
                      <a:gd name="connsiteY4" fmla="*/ 20668 h 49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35" h="49909">
                        <a:moveTo>
                          <a:pt x="66172" y="20668"/>
                        </a:moveTo>
                        <a:cubicBezTo>
                          <a:pt x="67981" y="34194"/>
                          <a:pt x="54551" y="47148"/>
                          <a:pt x="36358" y="49529"/>
                        </a:cubicBezTo>
                        <a:cubicBezTo>
                          <a:pt x="18166" y="51910"/>
                          <a:pt x="1878" y="42862"/>
                          <a:pt x="163" y="29241"/>
                        </a:cubicBezTo>
                        <a:cubicBezTo>
                          <a:pt x="-1646" y="15715"/>
                          <a:pt x="11784" y="2761"/>
                          <a:pt x="29977" y="380"/>
                        </a:cubicBezTo>
                        <a:cubicBezTo>
                          <a:pt x="48169" y="-2001"/>
                          <a:pt x="64362" y="7048"/>
                          <a:pt x="66172" y="2066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0" name="ïṩḻíďé"/>
                  <p:cNvSpPr/>
                  <p:nvPr/>
                </p:nvSpPr>
                <p:spPr>
                  <a:xfrm>
                    <a:off x="8304120" y="3675068"/>
                    <a:ext cx="39587" cy="39587"/>
                  </a:xfrm>
                  <a:custGeom>
                    <a:avLst/>
                    <a:gdLst>
                      <a:gd name="connsiteX0" fmla="*/ 39415 w 39587"/>
                      <a:gd name="connsiteY0" fmla="*/ 17222 h 39587"/>
                      <a:gd name="connsiteX1" fmla="*/ 22366 w 39587"/>
                      <a:gd name="connsiteY1" fmla="*/ 39415 h 39587"/>
                      <a:gd name="connsiteX2" fmla="*/ 172 w 39587"/>
                      <a:gd name="connsiteY2" fmla="*/ 22365 h 39587"/>
                      <a:gd name="connsiteX3" fmla="*/ 17222 w 39587"/>
                      <a:gd name="connsiteY3" fmla="*/ 172 h 39587"/>
                      <a:gd name="connsiteX4" fmla="*/ 39415 w 39587"/>
                      <a:gd name="connsiteY4" fmla="*/ 17222 h 39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587" h="39587">
                        <a:moveTo>
                          <a:pt x="39415" y="17222"/>
                        </a:moveTo>
                        <a:cubicBezTo>
                          <a:pt x="40844" y="28080"/>
                          <a:pt x="33224" y="37986"/>
                          <a:pt x="22366" y="39415"/>
                        </a:cubicBezTo>
                        <a:cubicBezTo>
                          <a:pt x="11507" y="40844"/>
                          <a:pt x="1601" y="33224"/>
                          <a:pt x="172" y="22365"/>
                        </a:cubicBezTo>
                        <a:cubicBezTo>
                          <a:pt x="-1257" y="11507"/>
                          <a:pt x="6363" y="1601"/>
                          <a:pt x="17222" y="172"/>
                        </a:cubicBezTo>
                        <a:cubicBezTo>
                          <a:pt x="28080" y="-1257"/>
                          <a:pt x="37986" y="6363"/>
                          <a:pt x="39415" y="17222"/>
                        </a:cubicBezTo>
                        <a:close/>
                      </a:path>
                    </a:pathLst>
                  </a:custGeom>
                  <a:solidFill>
                    <a:srgbClr val="26273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1" name="íṥľíḑê"/>
                  <p:cNvSpPr/>
                  <p:nvPr/>
                </p:nvSpPr>
                <p:spPr>
                  <a:xfrm>
                    <a:off x="8071710" y="3705262"/>
                    <a:ext cx="39587" cy="39587"/>
                  </a:xfrm>
                  <a:custGeom>
                    <a:avLst/>
                    <a:gdLst>
                      <a:gd name="connsiteX0" fmla="*/ 39415 w 39587"/>
                      <a:gd name="connsiteY0" fmla="*/ 17222 h 39587"/>
                      <a:gd name="connsiteX1" fmla="*/ 22366 w 39587"/>
                      <a:gd name="connsiteY1" fmla="*/ 39415 h 39587"/>
                      <a:gd name="connsiteX2" fmla="*/ 172 w 39587"/>
                      <a:gd name="connsiteY2" fmla="*/ 22365 h 39587"/>
                      <a:gd name="connsiteX3" fmla="*/ 17222 w 39587"/>
                      <a:gd name="connsiteY3" fmla="*/ 172 h 39587"/>
                      <a:gd name="connsiteX4" fmla="*/ 39415 w 39587"/>
                      <a:gd name="connsiteY4" fmla="*/ 17222 h 39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587" h="39587">
                        <a:moveTo>
                          <a:pt x="39415" y="17222"/>
                        </a:moveTo>
                        <a:cubicBezTo>
                          <a:pt x="40844" y="28080"/>
                          <a:pt x="33224" y="37986"/>
                          <a:pt x="22366" y="39415"/>
                        </a:cubicBezTo>
                        <a:cubicBezTo>
                          <a:pt x="11507" y="40844"/>
                          <a:pt x="1601" y="33224"/>
                          <a:pt x="172" y="22365"/>
                        </a:cubicBezTo>
                        <a:cubicBezTo>
                          <a:pt x="-1256" y="11507"/>
                          <a:pt x="6364" y="1601"/>
                          <a:pt x="17222" y="172"/>
                        </a:cubicBezTo>
                        <a:cubicBezTo>
                          <a:pt x="28080" y="-1257"/>
                          <a:pt x="37987" y="6363"/>
                          <a:pt x="39415" y="17222"/>
                        </a:cubicBezTo>
                        <a:close/>
                      </a:path>
                    </a:pathLst>
                  </a:custGeom>
                  <a:solidFill>
                    <a:srgbClr val="26273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2" name="işlîḓè"/>
                  <p:cNvSpPr/>
                  <p:nvPr/>
                </p:nvSpPr>
                <p:spPr>
                  <a:xfrm>
                    <a:off x="8184182" y="3894029"/>
                    <a:ext cx="113157" cy="32779"/>
                  </a:xfrm>
                  <a:custGeom>
                    <a:avLst/>
                    <a:gdLst>
                      <a:gd name="connsiteX0" fmla="*/ 113157 w 113157"/>
                      <a:gd name="connsiteY0" fmla="*/ 0 h 32779"/>
                      <a:gd name="connsiteX1" fmla="*/ 0 w 113157"/>
                      <a:gd name="connsiteY1" fmla="*/ 14669 h 32779"/>
                      <a:gd name="connsiteX2" fmla="*/ 113157 w 113157"/>
                      <a:gd name="connsiteY2" fmla="*/ 0 h 3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3157" h="32779">
                        <a:moveTo>
                          <a:pt x="113157" y="0"/>
                        </a:moveTo>
                        <a:cubicBezTo>
                          <a:pt x="63912" y="63913"/>
                          <a:pt x="0" y="14669"/>
                          <a:pt x="0" y="14669"/>
                        </a:cubicBezTo>
                        <a:lnTo>
                          <a:pt x="11315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3" name="ïṣľídê"/>
                  <p:cNvSpPr/>
                  <p:nvPr/>
                </p:nvSpPr>
                <p:spPr>
                  <a:xfrm>
                    <a:off x="8183851" y="3728485"/>
                    <a:ext cx="51480" cy="131696"/>
                  </a:xfrm>
                  <a:custGeom>
                    <a:avLst/>
                    <a:gdLst>
                      <a:gd name="connsiteX0" fmla="*/ 34431 w 51480"/>
                      <a:gd name="connsiteY0" fmla="*/ 0 h 131696"/>
                      <a:gd name="connsiteX1" fmla="*/ 51481 w 51480"/>
                      <a:gd name="connsiteY1" fmla="*/ 130778 h 131696"/>
                      <a:gd name="connsiteX2" fmla="*/ 34431 w 51480"/>
                      <a:gd name="connsiteY2" fmla="*/ 0 h 1316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1480" h="131696">
                        <a:moveTo>
                          <a:pt x="34431" y="0"/>
                        </a:moveTo>
                        <a:lnTo>
                          <a:pt x="51481" y="130778"/>
                        </a:lnTo>
                        <a:cubicBezTo>
                          <a:pt x="-53390" y="144494"/>
                          <a:pt x="34431" y="0"/>
                          <a:pt x="34431" y="0"/>
                        </a:cubicBezTo>
                        <a:close/>
                      </a:path>
                    </a:pathLst>
                  </a:custGeom>
                  <a:solidFill>
                    <a:srgbClr val="F3979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4" name="îšḷîde"/>
                  <p:cNvSpPr/>
                  <p:nvPr/>
                </p:nvSpPr>
                <p:spPr>
                  <a:xfrm>
                    <a:off x="8289243" y="3646237"/>
                    <a:ext cx="72295" cy="17287"/>
                  </a:xfrm>
                  <a:custGeom>
                    <a:avLst/>
                    <a:gdLst>
                      <a:gd name="connsiteX0" fmla="*/ 0 w 72295"/>
                      <a:gd name="connsiteY0" fmla="*/ 17288 h 17287"/>
                      <a:gd name="connsiteX1" fmla="*/ 72295 w 72295"/>
                      <a:gd name="connsiteY1" fmla="*/ 7858 h 1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2295" h="17287">
                        <a:moveTo>
                          <a:pt x="0" y="17288"/>
                        </a:moveTo>
                        <a:cubicBezTo>
                          <a:pt x="0" y="17288"/>
                          <a:pt x="32671" y="-14240"/>
                          <a:pt x="72295" y="7858"/>
                        </a:cubicBezTo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" name="íśļiḑê"/>
                  <p:cNvSpPr/>
                  <p:nvPr/>
                </p:nvSpPr>
                <p:spPr>
                  <a:xfrm>
                    <a:off x="8056833" y="3676431"/>
                    <a:ext cx="72294" cy="17287"/>
                  </a:xfrm>
                  <a:custGeom>
                    <a:avLst/>
                    <a:gdLst>
                      <a:gd name="connsiteX0" fmla="*/ 0 w 72294"/>
                      <a:gd name="connsiteY0" fmla="*/ 17288 h 17287"/>
                      <a:gd name="connsiteX1" fmla="*/ 72294 w 72294"/>
                      <a:gd name="connsiteY1" fmla="*/ 7858 h 1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2294" h="17287">
                        <a:moveTo>
                          <a:pt x="0" y="17288"/>
                        </a:moveTo>
                        <a:cubicBezTo>
                          <a:pt x="0" y="17288"/>
                          <a:pt x="32671" y="-14240"/>
                          <a:pt x="72294" y="7858"/>
                        </a:cubicBezTo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iSlîdé"/>
                  <p:cNvSpPr/>
                  <p:nvPr/>
                </p:nvSpPr>
                <p:spPr>
                  <a:xfrm>
                    <a:off x="8320961" y="3740010"/>
                    <a:ext cx="140779" cy="140779"/>
                  </a:xfrm>
                  <a:custGeom>
                    <a:avLst/>
                    <a:gdLst>
                      <a:gd name="connsiteX0" fmla="*/ 140779 w 140779"/>
                      <a:gd name="connsiteY0" fmla="*/ 70390 h 140779"/>
                      <a:gd name="connsiteX1" fmla="*/ 70389 w 140779"/>
                      <a:gd name="connsiteY1" fmla="*/ 140780 h 140779"/>
                      <a:gd name="connsiteX2" fmla="*/ -1 w 140779"/>
                      <a:gd name="connsiteY2" fmla="*/ 70390 h 140779"/>
                      <a:gd name="connsiteX3" fmla="*/ 70389 w 140779"/>
                      <a:gd name="connsiteY3" fmla="*/ 0 h 140779"/>
                      <a:gd name="connsiteX4" fmla="*/ 140779 w 140779"/>
                      <a:gd name="connsiteY4" fmla="*/ 70390 h 140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0779" h="140779">
                        <a:moveTo>
                          <a:pt x="140779" y="70390"/>
                        </a:moveTo>
                        <a:cubicBezTo>
                          <a:pt x="140779" y="109265"/>
                          <a:pt x="109265" y="140780"/>
                          <a:pt x="70389" y="140780"/>
                        </a:cubicBezTo>
                        <a:cubicBezTo>
                          <a:pt x="31514" y="140780"/>
                          <a:pt x="-1" y="109265"/>
                          <a:pt x="-1" y="70390"/>
                        </a:cubicBezTo>
                        <a:cubicBezTo>
                          <a:pt x="-1" y="31515"/>
                          <a:pt x="31514" y="0"/>
                          <a:pt x="70389" y="0"/>
                        </a:cubicBezTo>
                        <a:cubicBezTo>
                          <a:pt x="109264" y="0"/>
                          <a:pt x="140779" y="31515"/>
                          <a:pt x="140779" y="70390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íśḷïďê"/>
                  <p:cNvSpPr/>
                  <p:nvPr/>
                </p:nvSpPr>
                <p:spPr>
                  <a:xfrm>
                    <a:off x="8006065" y="3782556"/>
                    <a:ext cx="127665" cy="140800"/>
                  </a:xfrm>
                  <a:custGeom>
                    <a:avLst/>
                    <a:gdLst>
                      <a:gd name="connsiteX0" fmla="*/ 48196 w 127665"/>
                      <a:gd name="connsiteY0" fmla="*/ 602 h 140800"/>
                      <a:gd name="connsiteX1" fmla="*/ 127063 w 127665"/>
                      <a:gd name="connsiteY1" fmla="*/ 61372 h 140800"/>
                      <a:gd name="connsiteX2" fmla="*/ 66294 w 127665"/>
                      <a:gd name="connsiteY2" fmla="*/ 140239 h 140800"/>
                      <a:gd name="connsiteX3" fmla="*/ 28480 w 127665"/>
                      <a:gd name="connsiteY3" fmla="*/ 134429 h 140800"/>
                      <a:gd name="connsiteX4" fmla="*/ 0 w 127665"/>
                      <a:gd name="connsiteY4" fmla="*/ 29654 h 140800"/>
                      <a:gd name="connsiteX5" fmla="*/ 48196 w 127665"/>
                      <a:gd name="connsiteY5" fmla="*/ 602 h 140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27665" h="140800">
                        <a:moveTo>
                          <a:pt x="48196" y="602"/>
                        </a:moveTo>
                        <a:cubicBezTo>
                          <a:pt x="86773" y="-4446"/>
                          <a:pt x="122111" y="22796"/>
                          <a:pt x="127063" y="61372"/>
                        </a:cubicBezTo>
                        <a:cubicBezTo>
                          <a:pt x="132112" y="99948"/>
                          <a:pt x="104870" y="135286"/>
                          <a:pt x="66294" y="140239"/>
                        </a:cubicBezTo>
                        <a:cubicBezTo>
                          <a:pt x="52864" y="141953"/>
                          <a:pt x="40005" y="139667"/>
                          <a:pt x="28480" y="134429"/>
                        </a:cubicBezTo>
                        <a:cubicBezTo>
                          <a:pt x="15621" y="104139"/>
                          <a:pt x="6001" y="69087"/>
                          <a:pt x="0" y="29654"/>
                        </a:cubicBezTo>
                        <a:cubicBezTo>
                          <a:pt x="11049" y="14318"/>
                          <a:pt x="27908" y="3269"/>
                          <a:pt x="48196" y="602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17" name="îṥḻiḓê"/>
                <p:cNvSpPr/>
                <p:nvPr/>
              </p:nvSpPr>
              <p:spPr>
                <a:xfrm>
                  <a:off x="9245401" y="6085446"/>
                  <a:ext cx="235999" cy="402931"/>
                </a:xfrm>
                <a:custGeom>
                  <a:avLst/>
                  <a:gdLst>
                    <a:gd name="connsiteX0" fmla="*/ 13582 w 235999"/>
                    <a:gd name="connsiteY0" fmla="*/ 39053 h 402931"/>
                    <a:gd name="connsiteX1" fmla="*/ 19679 w 235999"/>
                    <a:gd name="connsiteY1" fmla="*/ 312039 h 402931"/>
                    <a:gd name="connsiteX2" fmla="*/ 58159 w 235999"/>
                    <a:gd name="connsiteY2" fmla="*/ 243840 h 402931"/>
                    <a:gd name="connsiteX3" fmla="*/ 124454 w 235999"/>
                    <a:gd name="connsiteY3" fmla="*/ 402336 h 402931"/>
                    <a:gd name="connsiteX4" fmla="*/ 142075 w 235999"/>
                    <a:gd name="connsiteY4" fmla="*/ 346520 h 402931"/>
                    <a:gd name="connsiteX5" fmla="*/ 165220 w 235999"/>
                    <a:gd name="connsiteY5" fmla="*/ 358045 h 402931"/>
                    <a:gd name="connsiteX6" fmla="*/ 179698 w 235999"/>
                    <a:gd name="connsiteY6" fmla="*/ 318230 h 402931"/>
                    <a:gd name="connsiteX7" fmla="*/ 206274 w 235999"/>
                    <a:gd name="connsiteY7" fmla="*/ 284607 h 402931"/>
                    <a:gd name="connsiteX8" fmla="*/ 230658 w 235999"/>
                    <a:gd name="connsiteY8" fmla="*/ 220789 h 402931"/>
                    <a:gd name="connsiteX9" fmla="*/ 185318 w 235999"/>
                    <a:gd name="connsiteY9" fmla="*/ 0 h 40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35999" h="402931">
                      <a:moveTo>
                        <a:pt x="13582" y="39053"/>
                      </a:moveTo>
                      <a:cubicBezTo>
                        <a:pt x="13582" y="39053"/>
                        <a:pt x="-20707" y="295465"/>
                        <a:pt x="19679" y="312039"/>
                      </a:cubicBezTo>
                      <a:cubicBezTo>
                        <a:pt x="60160" y="328613"/>
                        <a:pt x="58159" y="243840"/>
                        <a:pt x="58159" y="243840"/>
                      </a:cubicBezTo>
                      <a:cubicBezTo>
                        <a:pt x="58159" y="243840"/>
                        <a:pt x="95879" y="414242"/>
                        <a:pt x="124454" y="402336"/>
                      </a:cubicBezTo>
                      <a:cubicBezTo>
                        <a:pt x="152933" y="390430"/>
                        <a:pt x="142075" y="346520"/>
                        <a:pt x="142075" y="346520"/>
                      </a:cubicBezTo>
                      <a:cubicBezTo>
                        <a:pt x="142075" y="346520"/>
                        <a:pt x="150457" y="364236"/>
                        <a:pt x="165220" y="358045"/>
                      </a:cubicBezTo>
                      <a:cubicBezTo>
                        <a:pt x="179984" y="351854"/>
                        <a:pt x="176079" y="319754"/>
                        <a:pt x="179698" y="318230"/>
                      </a:cubicBezTo>
                      <a:cubicBezTo>
                        <a:pt x="196843" y="344805"/>
                        <a:pt x="220751" y="319183"/>
                        <a:pt x="206274" y="284607"/>
                      </a:cubicBezTo>
                      <a:cubicBezTo>
                        <a:pt x="234849" y="307277"/>
                        <a:pt x="242468" y="273844"/>
                        <a:pt x="230658" y="220789"/>
                      </a:cubicBezTo>
                      <a:cubicBezTo>
                        <a:pt x="218846" y="167735"/>
                        <a:pt x="185318" y="0"/>
                        <a:pt x="185318" y="0"/>
                      </a:cubicBezTo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iŝľïḓe"/>
                <p:cNvSpPr/>
                <p:nvPr/>
              </p:nvSpPr>
              <p:spPr>
                <a:xfrm>
                  <a:off x="7241590" y="5072028"/>
                  <a:ext cx="306100" cy="330838"/>
                </a:xfrm>
                <a:custGeom>
                  <a:avLst/>
                  <a:gdLst>
                    <a:gd name="connsiteX0" fmla="*/ 286034 w 306100"/>
                    <a:gd name="connsiteY0" fmla="*/ 3863 h 330838"/>
                    <a:gd name="connsiteX1" fmla="*/ 139825 w 306100"/>
                    <a:gd name="connsiteY1" fmla="*/ 94065 h 330838"/>
                    <a:gd name="connsiteX2" fmla="*/ 148303 w 306100"/>
                    <a:gd name="connsiteY2" fmla="*/ 16151 h 330838"/>
                    <a:gd name="connsiteX3" fmla="*/ 13333 w 306100"/>
                    <a:gd name="connsiteY3" fmla="*/ 182457 h 330838"/>
                    <a:gd name="connsiteX4" fmla="*/ 14762 w 306100"/>
                    <a:gd name="connsiteY4" fmla="*/ 283898 h 330838"/>
                    <a:gd name="connsiteX5" fmla="*/ 14762 w 306100"/>
                    <a:gd name="connsiteY5" fmla="*/ 283898 h 330838"/>
                    <a:gd name="connsiteX6" fmla="*/ 165447 w 306100"/>
                    <a:gd name="connsiteY6" fmla="*/ 305044 h 330838"/>
                    <a:gd name="connsiteX7" fmla="*/ 266603 w 306100"/>
                    <a:gd name="connsiteY7" fmla="*/ 213223 h 330838"/>
                    <a:gd name="connsiteX8" fmla="*/ 284034 w 306100"/>
                    <a:gd name="connsiteY8" fmla="*/ 147119 h 330838"/>
                    <a:gd name="connsiteX9" fmla="*/ 282033 w 306100"/>
                    <a:gd name="connsiteY9" fmla="*/ 104257 h 330838"/>
                    <a:gd name="connsiteX10" fmla="*/ 293463 w 306100"/>
                    <a:gd name="connsiteY10" fmla="*/ 63394 h 330838"/>
                    <a:gd name="connsiteX11" fmla="*/ 267937 w 306100"/>
                    <a:gd name="connsiteY11" fmla="*/ 59299 h 330838"/>
                    <a:gd name="connsiteX12" fmla="*/ 286034 w 306100"/>
                    <a:gd name="connsiteY12" fmla="*/ 3863 h 330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6100" h="330838">
                      <a:moveTo>
                        <a:pt x="286034" y="3863"/>
                      </a:moveTo>
                      <a:cubicBezTo>
                        <a:pt x="269842" y="-22426"/>
                        <a:pt x="139825" y="94065"/>
                        <a:pt x="139825" y="94065"/>
                      </a:cubicBezTo>
                      <a:cubicBezTo>
                        <a:pt x="139825" y="94065"/>
                        <a:pt x="190784" y="26247"/>
                        <a:pt x="148303" y="16151"/>
                      </a:cubicBezTo>
                      <a:cubicBezTo>
                        <a:pt x="118965" y="9197"/>
                        <a:pt x="52005" y="115687"/>
                        <a:pt x="13333" y="182457"/>
                      </a:cubicBezTo>
                      <a:cubicBezTo>
                        <a:pt x="-4955" y="213985"/>
                        <a:pt x="-4383" y="252847"/>
                        <a:pt x="14762" y="283898"/>
                      </a:cubicBezTo>
                      <a:lnTo>
                        <a:pt x="14762" y="283898"/>
                      </a:lnTo>
                      <a:cubicBezTo>
                        <a:pt x="47242" y="336572"/>
                        <a:pt x="119632" y="346763"/>
                        <a:pt x="165447" y="305044"/>
                      </a:cubicBezTo>
                      <a:cubicBezTo>
                        <a:pt x="205357" y="268658"/>
                        <a:pt x="247744" y="230177"/>
                        <a:pt x="266603" y="213223"/>
                      </a:cubicBezTo>
                      <a:cubicBezTo>
                        <a:pt x="307084" y="176933"/>
                        <a:pt x="320419" y="145310"/>
                        <a:pt x="284034" y="147119"/>
                      </a:cubicBezTo>
                      <a:cubicBezTo>
                        <a:pt x="315942" y="127403"/>
                        <a:pt x="311466" y="92636"/>
                        <a:pt x="282033" y="104257"/>
                      </a:cubicBezTo>
                      <a:cubicBezTo>
                        <a:pt x="279938" y="100828"/>
                        <a:pt x="301846" y="77015"/>
                        <a:pt x="293463" y="63394"/>
                      </a:cubicBezTo>
                      <a:cubicBezTo>
                        <a:pt x="285081" y="49774"/>
                        <a:pt x="267937" y="59299"/>
                        <a:pt x="267937" y="59299"/>
                      </a:cubicBezTo>
                      <a:cubicBezTo>
                        <a:pt x="267937" y="59299"/>
                        <a:pt x="302226" y="30152"/>
                        <a:pt x="286034" y="386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ïŝľídè"/>
                <p:cNvSpPr/>
                <p:nvPr/>
              </p:nvSpPr>
              <p:spPr>
                <a:xfrm>
                  <a:off x="8151298" y="4129773"/>
                  <a:ext cx="311579" cy="393287"/>
                </a:xfrm>
                <a:custGeom>
                  <a:avLst/>
                  <a:gdLst>
                    <a:gd name="connsiteX0" fmla="*/ 3357 w 311579"/>
                    <a:gd name="connsiteY0" fmla="*/ 37243 h 393287"/>
                    <a:gd name="connsiteX1" fmla="*/ 164043 w 311579"/>
                    <a:gd name="connsiteY1" fmla="*/ 164687 h 393287"/>
                    <a:gd name="connsiteX2" fmla="*/ 290250 w 311579"/>
                    <a:gd name="connsiteY2" fmla="*/ 0 h 393287"/>
                    <a:gd name="connsiteX3" fmla="*/ 193761 w 311579"/>
                    <a:gd name="connsiteY3" fmla="*/ 393287 h 393287"/>
                    <a:gd name="connsiteX4" fmla="*/ 3357 w 311579"/>
                    <a:gd name="connsiteY4" fmla="*/ 37243 h 393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579" h="393287">
                      <a:moveTo>
                        <a:pt x="3357" y="37243"/>
                      </a:moveTo>
                      <a:cubicBezTo>
                        <a:pt x="3357" y="37243"/>
                        <a:pt x="56697" y="178594"/>
                        <a:pt x="164043" y="164687"/>
                      </a:cubicBezTo>
                      <a:cubicBezTo>
                        <a:pt x="271295" y="150686"/>
                        <a:pt x="290250" y="0"/>
                        <a:pt x="290250" y="0"/>
                      </a:cubicBezTo>
                      <a:cubicBezTo>
                        <a:pt x="290250" y="0"/>
                        <a:pt x="379213" y="152400"/>
                        <a:pt x="193761" y="393287"/>
                      </a:cubicBezTo>
                      <a:cubicBezTo>
                        <a:pt x="-41125" y="209169"/>
                        <a:pt x="3357" y="37243"/>
                        <a:pt x="3357" y="37243"/>
                      </a:cubicBez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işlîḍé"/>
                <p:cNvSpPr/>
                <p:nvPr/>
              </p:nvSpPr>
              <p:spPr>
                <a:xfrm>
                  <a:off x="8162751" y="5667108"/>
                  <a:ext cx="218979" cy="249745"/>
                </a:xfrm>
                <a:custGeom>
                  <a:avLst/>
                  <a:gdLst>
                    <a:gd name="connsiteX0" fmla="*/ 0 w 218979"/>
                    <a:gd name="connsiteY0" fmla="*/ 198501 h 249745"/>
                    <a:gd name="connsiteX1" fmla="*/ 152781 w 218979"/>
                    <a:gd name="connsiteY1" fmla="*/ 0 h 249745"/>
                    <a:gd name="connsiteX2" fmla="*/ 218980 w 218979"/>
                    <a:gd name="connsiteY2" fmla="*/ 50959 h 249745"/>
                    <a:gd name="connsiteX3" fmla="*/ 65913 w 218979"/>
                    <a:gd name="connsiteY3" fmla="*/ 249746 h 249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8979" h="249745">
                      <a:moveTo>
                        <a:pt x="0" y="198501"/>
                      </a:moveTo>
                      <a:lnTo>
                        <a:pt x="152781" y="0"/>
                      </a:lnTo>
                      <a:lnTo>
                        <a:pt x="218980" y="50959"/>
                      </a:lnTo>
                      <a:lnTo>
                        <a:pt x="65913" y="249746"/>
                      </a:ln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iśľîdé"/>
                <p:cNvSpPr/>
                <p:nvPr/>
              </p:nvSpPr>
              <p:spPr>
                <a:xfrm>
                  <a:off x="8800545" y="5597385"/>
                  <a:ext cx="249459" cy="219170"/>
                </a:xfrm>
                <a:custGeom>
                  <a:avLst/>
                  <a:gdLst>
                    <a:gd name="connsiteX0" fmla="*/ 249460 w 249459"/>
                    <a:gd name="connsiteY0" fmla="*/ 152876 h 219170"/>
                    <a:gd name="connsiteX1" fmla="*/ 50959 w 249459"/>
                    <a:gd name="connsiteY1" fmla="*/ 0 h 219170"/>
                    <a:gd name="connsiteX2" fmla="*/ 0 w 249459"/>
                    <a:gd name="connsiteY2" fmla="*/ 66199 h 219170"/>
                    <a:gd name="connsiteX3" fmla="*/ 198787 w 249459"/>
                    <a:gd name="connsiteY3" fmla="*/ 219170 h 219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9459" h="219170">
                      <a:moveTo>
                        <a:pt x="249460" y="152876"/>
                      </a:moveTo>
                      <a:lnTo>
                        <a:pt x="50959" y="0"/>
                      </a:lnTo>
                      <a:lnTo>
                        <a:pt x="0" y="66199"/>
                      </a:lnTo>
                      <a:lnTo>
                        <a:pt x="198787" y="219170"/>
                      </a:ln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iŝḻïdé"/>
                <p:cNvSpPr/>
                <p:nvPr/>
              </p:nvSpPr>
              <p:spPr>
                <a:xfrm>
                  <a:off x="8162751" y="5667108"/>
                  <a:ext cx="152780" cy="198500"/>
                </a:xfrm>
                <a:custGeom>
                  <a:avLst/>
                  <a:gdLst>
                    <a:gd name="connsiteX0" fmla="*/ 0 w 152780"/>
                    <a:gd name="connsiteY0" fmla="*/ 198501 h 198500"/>
                    <a:gd name="connsiteX1" fmla="*/ 152781 w 152780"/>
                    <a:gd name="connsiteY1" fmla="*/ 0 h 198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780" h="198500">
                      <a:moveTo>
                        <a:pt x="0" y="198501"/>
                      </a:moveTo>
                      <a:lnTo>
                        <a:pt x="152781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iSľîdê"/>
                <p:cNvSpPr/>
                <p:nvPr/>
              </p:nvSpPr>
              <p:spPr>
                <a:xfrm>
                  <a:off x="8851504" y="5597385"/>
                  <a:ext cx="198501" cy="152876"/>
                </a:xfrm>
                <a:custGeom>
                  <a:avLst/>
                  <a:gdLst>
                    <a:gd name="connsiteX0" fmla="*/ 198501 w 198501"/>
                    <a:gd name="connsiteY0" fmla="*/ 152876 h 152876"/>
                    <a:gd name="connsiteX1" fmla="*/ 0 w 198501"/>
                    <a:gd name="connsiteY1" fmla="*/ 0 h 152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8501" h="152876">
                      <a:moveTo>
                        <a:pt x="198501" y="152876"/>
                      </a:moveTo>
                      <a:lnTo>
                        <a:pt x="0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00" name="í$liḓè"/>
              <p:cNvSpPr/>
              <p:nvPr/>
            </p:nvSpPr>
            <p:spPr>
              <a:xfrm>
                <a:off x="8005589" y="3632996"/>
                <a:ext cx="493871" cy="430581"/>
              </a:xfrm>
              <a:custGeom>
                <a:avLst/>
                <a:gdLst>
                  <a:gd name="connsiteX0" fmla="*/ 483965 w 493871"/>
                  <a:gd name="connsiteY0" fmla="*/ 189310 h 430581"/>
                  <a:gd name="connsiteX1" fmla="*/ 479203 w 493871"/>
                  <a:gd name="connsiteY1" fmla="*/ 226934 h 430581"/>
                  <a:gd name="connsiteX2" fmla="*/ 420148 w 493871"/>
                  <a:gd name="connsiteY2" fmla="*/ 136827 h 430581"/>
                  <a:gd name="connsiteX3" fmla="*/ 476250 w 493871"/>
                  <a:gd name="connsiteY3" fmla="*/ 6621 h 430581"/>
                  <a:gd name="connsiteX4" fmla="*/ 473583 w 493871"/>
                  <a:gd name="connsiteY4" fmla="*/ 334 h 430581"/>
                  <a:gd name="connsiteX5" fmla="*/ 467106 w 493871"/>
                  <a:gd name="connsiteY5" fmla="*/ 3001 h 430581"/>
                  <a:gd name="connsiteX6" fmla="*/ 411385 w 493871"/>
                  <a:gd name="connsiteY6" fmla="*/ 132160 h 430581"/>
                  <a:gd name="connsiteX7" fmla="*/ 240982 w 493871"/>
                  <a:gd name="connsiteY7" fmla="*/ 154354 h 430581"/>
                  <a:gd name="connsiteX8" fmla="*/ 0 w 493871"/>
                  <a:gd name="connsiteY8" fmla="*/ 191215 h 430581"/>
                  <a:gd name="connsiteX9" fmla="*/ 29623 w 493871"/>
                  <a:gd name="connsiteY9" fmla="*/ 303134 h 430581"/>
                  <a:gd name="connsiteX10" fmla="*/ 270224 w 493871"/>
                  <a:gd name="connsiteY10" fmla="*/ 428388 h 430581"/>
                  <a:gd name="connsiteX11" fmla="*/ 484822 w 493871"/>
                  <a:gd name="connsiteY11" fmla="*/ 243222 h 430581"/>
                  <a:gd name="connsiteX12" fmla="*/ 485204 w 493871"/>
                  <a:gd name="connsiteY12" fmla="*/ 243317 h 430581"/>
                  <a:gd name="connsiteX13" fmla="*/ 493871 w 493871"/>
                  <a:gd name="connsiteY13" fmla="*/ 188453 h 430581"/>
                  <a:gd name="connsiteX14" fmla="*/ 483965 w 493871"/>
                  <a:gd name="connsiteY14" fmla="*/ 189310 h 430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93871" h="430581">
                    <a:moveTo>
                      <a:pt x="483965" y="189310"/>
                    </a:moveTo>
                    <a:cubicBezTo>
                      <a:pt x="483965" y="189310"/>
                      <a:pt x="480917" y="218552"/>
                      <a:pt x="479203" y="226934"/>
                    </a:cubicBezTo>
                    <a:cubicBezTo>
                      <a:pt x="445579" y="190072"/>
                      <a:pt x="426434" y="150925"/>
                      <a:pt x="420148" y="136827"/>
                    </a:cubicBezTo>
                    <a:lnTo>
                      <a:pt x="476250" y="6621"/>
                    </a:lnTo>
                    <a:cubicBezTo>
                      <a:pt x="477298" y="4144"/>
                      <a:pt x="476155" y="1382"/>
                      <a:pt x="473583" y="334"/>
                    </a:cubicBezTo>
                    <a:cubicBezTo>
                      <a:pt x="471106" y="-618"/>
                      <a:pt x="468153" y="525"/>
                      <a:pt x="467106" y="3001"/>
                    </a:cubicBezTo>
                    <a:lnTo>
                      <a:pt x="411385" y="132160"/>
                    </a:lnTo>
                    <a:lnTo>
                      <a:pt x="240982" y="154354"/>
                    </a:lnTo>
                    <a:lnTo>
                      <a:pt x="0" y="191215"/>
                    </a:lnTo>
                    <a:cubicBezTo>
                      <a:pt x="0" y="191215"/>
                      <a:pt x="18955" y="276559"/>
                      <a:pt x="29623" y="303134"/>
                    </a:cubicBezTo>
                    <a:cubicBezTo>
                      <a:pt x="65341" y="392002"/>
                      <a:pt x="166401" y="441913"/>
                      <a:pt x="270224" y="428388"/>
                    </a:cubicBezTo>
                    <a:cubicBezTo>
                      <a:pt x="373951" y="414862"/>
                      <a:pt x="460153" y="335710"/>
                      <a:pt x="484822" y="243222"/>
                    </a:cubicBezTo>
                    <a:lnTo>
                      <a:pt x="485204" y="243317"/>
                    </a:lnTo>
                    <a:cubicBezTo>
                      <a:pt x="485489" y="242365"/>
                      <a:pt x="493871" y="188453"/>
                      <a:pt x="493871" y="188453"/>
                    </a:cubicBezTo>
                    <a:lnTo>
                      <a:pt x="483965" y="189310"/>
                    </a:ln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1" name="íšlíḑe"/>
              <p:cNvSpPr/>
              <p:nvPr/>
            </p:nvSpPr>
            <p:spPr>
              <a:xfrm>
                <a:off x="8196299" y="3152438"/>
                <a:ext cx="321670" cy="267214"/>
              </a:xfrm>
              <a:custGeom>
                <a:avLst/>
                <a:gdLst>
                  <a:gd name="connsiteX0" fmla="*/ 73418 w 321670"/>
                  <a:gd name="connsiteY0" fmla="*/ 216288 h 267214"/>
                  <a:gd name="connsiteX1" fmla="*/ 3600 w 321670"/>
                  <a:gd name="connsiteY1" fmla="*/ 118276 h 267214"/>
                  <a:gd name="connsiteX2" fmla="*/ 32079 w 321670"/>
                  <a:gd name="connsiteY2" fmla="*/ 19597 h 267214"/>
                  <a:gd name="connsiteX3" fmla="*/ 320211 w 321670"/>
                  <a:gd name="connsiteY3" fmla="*/ 180855 h 267214"/>
                  <a:gd name="connsiteX4" fmla="*/ 73418 w 321670"/>
                  <a:gd name="connsiteY4" fmla="*/ 216288 h 267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1670" h="267214">
                    <a:moveTo>
                      <a:pt x="73418" y="216288"/>
                    </a:moveTo>
                    <a:cubicBezTo>
                      <a:pt x="39223" y="192856"/>
                      <a:pt x="12935" y="158757"/>
                      <a:pt x="3600" y="118276"/>
                    </a:cubicBezTo>
                    <a:cubicBezTo>
                      <a:pt x="-3734" y="86557"/>
                      <a:pt x="-2401" y="47695"/>
                      <a:pt x="32079" y="19597"/>
                    </a:cubicBezTo>
                    <a:cubicBezTo>
                      <a:pt x="101136" y="-36601"/>
                      <a:pt x="342595" y="31408"/>
                      <a:pt x="320211" y="180855"/>
                    </a:cubicBezTo>
                    <a:cubicBezTo>
                      <a:pt x="301827" y="304108"/>
                      <a:pt x="160191" y="276010"/>
                      <a:pt x="73418" y="216288"/>
                    </a:cubicBez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2" name="îS1íďè"/>
              <p:cNvSpPr/>
              <p:nvPr/>
            </p:nvSpPr>
            <p:spPr>
              <a:xfrm>
                <a:off x="7870060" y="3268944"/>
                <a:ext cx="701920" cy="509402"/>
              </a:xfrm>
              <a:custGeom>
                <a:avLst/>
                <a:gdLst>
                  <a:gd name="connsiteX0" fmla="*/ 697598 w 701920"/>
                  <a:gd name="connsiteY0" fmla="*/ 265898 h 509402"/>
                  <a:gd name="connsiteX1" fmla="*/ 143244 w 701920"/>
                  <a:gd name="connsiteY1" fmla="*/ 91114 h 509402"/>
                  <a:gd name="connsiteX2" fmla="*/ 69997 w 701920"/>
                  <a:gd name="connsiteY2" fmla="*/ 209224 h 509402"/>
                  <a:gd name="connsiteX3" fmla="*/ 8656 w 701920"/>
                  <a:gd name="connsiteY3" fmla="*/ 475257 h 509402"/>
                  <a:gd name="connsiteX4" fmla="*/ 156198 w 701920"/>
                  <a:gd name="connsiteY4" fmla="*/ 389818 h 509402"/>
                  <a:gd name="connsiteX5" fmla="*/ 514719 w 701920"/>
                  <a:gd name="connsiteY5" fmla="*/ 197222 h 509402"/>
                  <a:gd name="connsiteX6" fmla="*/ 685978 w 701920"/>
                  <a:gd name="connsiteY6" fmla="*/ 373625 h 509402"/>
                  <a:gd name="connsiteX7" fmla="*/ 697598 w 701920"/>
                  <a:gd name="connsiteY7" fmla="*/ 265898 h 50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1920" h="509402">
                    <a:moveTo>
                      <a:pt x="697598" y="265898"/>
                    </a:moveTo>
                    <a:cubicBezTo>
                      <a:pt x="652545" y="9103"/>
                      <a:pt x="333649" y="-87004"/>
                      <a:pt x="143244" y="91114"/>
                    </a:cubicBezTo>
                    <a:cubicBezTo>
                      <a:pt x="106096" y="125785"/>
                      <a:pt x="77712" y="165599"/>
                      <a:pt x="69997" y="209224"/>
                    </a:cubicBezTo>
                    <a:cubicBezTo>
                      <a:pt x="32277" y="421917"/>
                      <a:pt x="-21062" y="407629"/>
                      <a:pt x="8656" y="475257"/>
                    </a:cubicBezTo>
                    <a:cubicBezTo>
                      <a:pt x="38374" y="542885"/>
                      <a:pt x="147149" y="507833"/>
                      <a:pt x="156198" y="389818"/>
                    </a:cubicBezTo>
                    <a:cubicBezTo>
                      <a:pt x="165247" y="271803"/>
                      <a:pt x="414706" y="327048"/>
                      <a:pt x="514719" y="197222"/>
                    </a:cubicBezTo>
                    <a:cubicBezTo>
                      <a:pt x="531673" y="327524"/>
                      <a:pt x="618636" y="461160"/>
                      <a:pt x="685978" y="373625"/>
                    </a:cubicBezTo>
                    <a:cubicBezTo>
                      <a:pt x="702742" y="351908"/>
                      <a:pt x="705695" y="312380"/>
                      <a:pt x="697598" y="265898"/>
                    </a:cubicBez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03" name="íśļîďe"/>
              <p:cNvSpPr/>
              <p:nvPr/>
            </p:nvSpPr>
            <p:spPr>
              <a:xfrm>
                <a:off x="8199898" y="3265641"/>
                <a:ext cx="297275" cy="118134"/>
              </a:xfrm>
              <a:custGeom>
                <a:avLst/>
                <a:gdLst>
                  <a:gd name="connsiteX0" fmla="*/ 0 w 297275"/>
                  <a:gd name="connsiteY0" fmla="*/ 5168 h 118134"/>
                  <a:gd name="connsiteX1" fmla="*/ 297275 w 297275"/>
                  <a:gd name="connsiteY1" fmla="*/ 118134 h 11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275" h="118134">
                    <a:moveTo>
                      <a:pt x="0" y="5168"/>
                    </a:moveTo>
                    <a:cubicBezTo>
                      <a:pt x="0" y="5168"/>
                      <a:pt x="175356" y="-36742"/>
                      <a:pt x="297275" y="11813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04" name="图形 278"/>
              <p:cNvGrpSpPr/>
              <p:nvPr/>
            </p:nvGrpSpPr>
            <p:grpSpPr>
              <a:xfrm>
                <a:off x="7880049" y="3167949"/>
                <a:ext cx="567689" cy="327363"/>
                <a:chOff x="7880049" y="3167949"/>
                <a:chExt cx="567689" cy="327363"/>
              </a:xfrm>
              <a:solidFill>
                <a:schemeClr val="accent1"/>
              </a:solidFill>
            </p:grpSpPr>
            <p:sp>
              <p:nvSpPr>
                <p:cNvPr id="105" name="isļïḋe"/>
                <p:cNvSpPr/>
                <p:nvPr/>
              </p:nvSpPr>
              <p:spPr>
                <a:xfrm>
                  <a:off x="7880049" y="3167949"/>
                  <a:ext cx="567689" cy="327363"/>
                </a:xfrm>
                <a:custGeom>
                  <a:avLst/>
                  <a:gdLst>
                    <a:gd name="connsiteX0" fmla="*/ 510349 w 567689"/>
                    <a:gd name="connsiteY0" fmla="*/ 276881 h 327363"/>
                    <a:gd name="connsiteX1" fmla="*/ 122396 w 567689"/>
                    <a:gd name="connsiteY1" fmla="*/ 327364 h 327363"/>
                    <a:gd name="connsiteX2" fmla="*/ 0 w 567689"/>
                    <a:gd name="connsiteY2" fmla="*/ 89620 h 327363"/>
                    <a:gd name="connsiteX3" fmla="*/ 567690 w 567689"/>
                    <a:gd name="connsiteY3" fmla="*/ 15801 h 327363"/>
                    <a:gd name="connsiteX4" fmla="*/ 510349 w 567689"/>
                    <a:gd name="connsiteY4" fmla="*/ 276881 h 32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7689" h="327363">
                      <a:moveTo>
                        <a:pt x="510349" y="276881"/>
                      </a:moveTo>
                      <a:cubicBezTo>
                        <a:pt x="378904" y="254021"/>
                        <a:pt x="243649" y="271642"/>
                        <a:pt x="122396" y="327364"/>
                      </a:cubicBezTo>
                      <a:cubicBezTo>
                        <a:pt x="82677" y="247639"/>
                        <a:pt x="41814" y="168391"/>
                        <a:pt x="0" y="89620"/>
                      </a:cubicBezTo>
                      <a:cubicBezTo>
                        <a:pt x="176689" y="5704"/>
                        <a:pt x="375475" y="-20204"/>
                        <a:pt x="567690" y="15801"/>
                      </a:cubicBezTo>
                      <a:cubicBezTo>
                        <a:pt x="547592" y="102574"/>
                        <a:pt x="528447" y="189632"/>
                        <a:pt x="510349" y="276881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ïṩḻíḋe"/>
                <p:cNvSpPr/>
                <p:nvPr/>
              </p:nvSpPr>
              <p:spPr>
                <a:xfrm>
                  <a:off x="8089789" y="3225184"/>
                  <a:ext cx="172021" cy="172021"/>
                </a:xfrm>
                <a:custGeom>
                  <a:avLst/>
                  <a:gdLst>
                    <a:gd name="connsiteX0" fmla="*/ 163830 w 172021"/>
                    <a:gd name="connsiteY0" fmla="*/ 43910 h 172021"/>
                    <a:gd name="connsiteX1" fmla="*/ 113443 w 172021"/>
                    <a:gd name="connsiteY1" fmla="*/ 50387 h 172021"/>
                    <a:gd name="connsiteX2" fmla="*/ 106871 w 172021"/>
                    <a:gd name="connsiteY2" fmla="*/ 0 h 172021"/>
                    <a:gd name="connsiteX3" fmla="*/ 43910 w 172021"/>
                    <a:gd name="connsiteY3" fmla="*/ 8192 h 172021"/>
                    <a:gd name="connsiteX4" fmla="*/ 50388 w 172021"/>
                    <a:gd name="connsiteY4" fmla="*/ 58579 h 172021"/>
                    <a:gd name="connsiteX5" fmla="*/ 0 w 172021"/>
                    <a:gd name="connsiteY5" fmla="*/ 65151 h 172021"/>
                    <a:gd name="connsiteX6" fmla="*/ 8191 w 172021"/>
                    <a:gd name="connsiteY6" fmla="*/ 128207 h 172021"/>
                    <a:gd name="connsiteX7" fmla="*/ 58579 w 172021"/>
                    <a:gd name="connsiteY7" fmla="*/ 121634 h 172021"/>
                    <a:gd name="connsiteX8" fmla="*/ 65151 w 172021"/>
                    <a:gd name="connsiteY8" fmla="*/ 172022 h 172021"/>
                    <a:gd name="connsiteX9" fmla="*/ 128207 w 172021"/>
                    <a:gd name="connsiteY9" fmla="*/ 163830 h 172021"/>
                    <a:gd name="connsiteX10" fmla="*/ 121634 w 172021"/>
                    <a:gd name="connsiteY10" fmla="*/ 113443 h 172021"/>
                    <a:gd name="connsiteX11" fmla="*/ 172021 w 172021"/>
                    <a:gd name="connsiteY11" fmla="*/ 106870 h 172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2021" h="172021">
                      <a:moveTo>
                        <a:pt x="163830" y="43910"/>
                      </a:moveTo>
                      <a:lnTo>
                        <a:pt x="113443" y="50387"/>
                      </a:lnTo>
                      <a:lnTo>
                        <a:pt x="106871" y="0"/>
                      </a:lnTo>
                      <a:lnTo>
                        <a:pt x="43910" y="8192"/>
                      </a:lnTo>
                      <a:lnTo>
                        <a:pt x="50388" y="58579"/>
                      </a:lnTo>
                      <a:lnTo>
                        <a:pt x="0" y="65151"/>
                      </a:lnTo>
                      <a:lnTo>
                        <a:pt x="8191" y="128207"/>
                      </a:lnTo>
                      <a:lnTo>
                        <a:pt x="58579" y="121634"/>
                      </a:lnTo>
                      <a:lnTo>
                        <a:pt x="65151" y="172022"/>
                      </a:lnTo>
                      <a:lnTo>
                        <a:pt x="128207" y="163830"/>
                      </a:lnTo>
                      <a:lnTo>
                        <a:pt x="121634" y="113443"/>
                      </a:lnTo>
                      <a:lnTo>
                        <a:pt x="172021" y="106870"/>
                      </a:lnTo>
                      <a:close/>
                    </a:path>
                  </a:pathLst>
                </a:custGeom>
                <a:solidFill>
                  <a:srgbClr val="4870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47" name="图形 278"/>
            <p:cNvGrpSpPr/>
            <p:nvPr userDrawn="1"/>
          </p:nvGrpSpPr>
          <p:grpSpPr>
            <a:xfrm>
              <a:off x="459836" y="798863"/>
              <a:ext cx="2528554" cy="4072982"/>
              <a:chOff x="509621" y="3282858"/>
              <a:chExt cx="1979128" cy="3187970"/>
            </a:xfrm>
            <a:solidFill>
              <a:schemeClr val="accent1"/>
            </a:solidFill>
          </p:grpSpPr>
          <p:sp>
            <p:nvSpPr>
              <p:cNvPr id="148" name="íSļiḍe"/>
              <p:cNvSpPr/>
              <p:nvPr/>
            </p:nvSpPr>
            <p:spPr>
              <a:xfrm>
                <a:off x="509621" y="3364505"/>
                <a:ext cx="1553606" cy="1407532"/>
              </a:xfrm>
              <a:custGeom>
                <a:avLst/>
                <a:gdLst>
                  <a:gd name="connsiteX0" fmla="*/ 1482168 w 1553606"/>
                  <a:gd name="connsiteY0" fmla="*/ 259872 h 1407532"/>
                  <a:gd name="connsiteX1" fmla="*/ 872854 w 1553606"/>
                  <a:gd name="connsiteY1" fmla="*/ 96423 h 1407532"/>
                  <a:gd name="connsiteX2" fmla="*/ 774175 w 1553606"/>
                  <a:gd name="connsiteY2" fmla="*/ 252442 h 1407532"/>
                  <a:gd name="connsiteX3" fmla="*/ 318785 w 1553606"/>
                  <a:gd name="connsiteY3" fmla="*/ 626013 h 1407532"/>
                  <a:gd name="connsiteX4" fmla="*/ 56466 w 1553606"/>
                  <a:gd name="connsiteY4" fmla="*/ 1024729 h 1407532"/>
                  <a:gd name="connsiteX5" fmla="*/ 644730 w 1553606"/>
                  <a:gd name="connsiteY5" fmla="*/ 1385346 h 1407532"/>
                  <a:gd name="connsiteX6" fmla="*/ 1553606 w 1553606"/>
                  <a:gd name="connsiteY6" fmla="*/ 693259 h 1407532"/>
                  <a:gd name="connsiteX7" fmla="*/ 1482168 w 1553606"/>
                  <a:gd name="connsiteY7" fmla="*/ 259872 h 140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3606" h="1407532">
                    <a:moveTo>
                      <a:pt x="1482168" y="259872"/>
                    </a:moveTo>
                    <a:cubicBezTo>
                      <a:pt x="1394919" y="4411"/>
                      <a:pt x="1070879" y="-87029"/>
                      <a:pt x="872854" y="96423"/>
                    </a:cubicBezTo>
                    <a:cubicBezTo>
                      <a:pt x="829801" y="136332"/>
                      <a:pt x="793796" y="187291"/>
                      <a:pt x="774175" y="252442"/>
                    </a:cubicBezTo>
                    <a:cubicBezTo>
                      <a:pt x="695879" y="512856"/>
                      <a:pt x="384412" y="345692"/>
                      <a:pt x="318785" y="626013"/>
                    </a:cubicBezTo>
                    <a:cubicBezTo>
                      <a:pt x="253253" y="906333"/>
                      <a:pt x="185816" y="935480"/>
                      <a:pt x="56466" y="1024729"/>
                    </a:cubicBezTo>
                    <a:cubicBezTo>
                      <a:pt x="-72883" y="1113979"/>
                      <a:pt x="-20020" y="1503741"/>
                      <a:pt x="644730" y="1385346"/>
                    </a:cubicBezTo>
                    <a:cubicBezTo>
                      <a:pt x="1309575" y="1266950"/>
                      <a:pt x="1553606" y="926336"/>
                      <a:pt x="1553606" y="693259"/>
                    </a:cubicBezTo>
                    <a:cubicBezTo>
                      <a:pt x="1553796" y="581436"/>
                      <a:pt x="1533318" y="409414"/>
                      <a:pt x="1482168" y="259872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9" name="îṣ1ïḋe"/>
              <p:cNvSpPr/>
              <p:nvPr/>
            </p:nvSpPr>
            <p:spPr>
              <a:xfrm>
                <a:off x="1122538" y="6380912"/>
                <a:ext cx="977645" cy="89916"/>
              </a:xfrm>
              <a:custGeom>
                <a:avLst/>
                <a:gdLst>
                  <a:gd name="connsiteX0" fmla="*/ 0 w 977645"/>
                  <a:gd name="connsiteY0" fmla="*/ 0 h 89916"/>
                  <a:gd name="connsiteX1" fmla="*/ 0 w 977645"/>
                  <a:gd name="connsiteY1" fmla="*/ 89916 h 89916"/>
                  <a:gd name="connsiteX2" fmla="*/ 977646 w 977645"/>
                  <a:gd name="connsiteY2" fmla="*/ 89916 h 89916"/>
                  <a:gd name="connsiteX3" fmla="*/ 976789 w 977645"/>
                  <a:gd name="connsiteY3" fmla="*/ 0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7645" h="89916">
                    <a:moveTo>
                      <a:pt x="0" y="0"/>
                    </a:moveTo>
                    <a:lnTo>
                      <a:pt x="0" y="89916"/>
                    </a:lnTo>
                    <a:lnTo>
                      <a:pt x="977646" y="89916"/>
                    </a:lnTo>
                    <a:lnTo>
                      <a:pt x="97678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0" name="íš1iḋé"/>
              <p:cNvSpPr/>
              <p:nvPr/>
            </p:nvSpPr>
            <p:spPr>
              <a:xfrm>
                <a:off x="940134" y="4253367"/>
                <a:ext cx="678275" cy="877674"/>
              </a:xfrm>
              <a:custGeom>
                <a:avLst/>
                <a:gdLst>
                  <a:gd name="connsiteX0" fmla="*/ 0 w 678275"/>
                  <a:gd name="connsiteY0" fmla="*/ 763565 h 877674"/>
                  <a:gd name="connsiteX1" fmla="*/ 590169 w 678275"/>
                  <a:gd name="connsiteY1" fmla="*/ 877674 h 877674"/>
                  <a:gd name="connsiteX2" fmla="*/ 678275 w 678275"/>
                  <a:gd name="connsiteY2" fmla="*/ 993 h 877674"/>
                  <a:gd name="connsiteX3" fmla="*/ 0 w 678275"/>
                  <a:gd name="connsiteY3" fmla="*/ 763565 h 877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8275" h="877674">
                    <a:moveTo>
                      <a:pt x="0" y="763565"/>
                    </a:moveTo>
                    <a:cubicBezTo>
                      <a:pt x="195644" y="801379"/>
                      <a:pt x="360902" y="833383"/>
                      <a:pt x="590169" y="877674"/>
                    </a:cubicBezTo>
                    <a:lnTo>
                      <a:pt x="678275" y="993"/>
                    </a:lnTo>
                    <a:cubicBezTo>
                      <a:pt x="678275" y="993"/>
                      <a:pt x="55054" y="-59491"/>
                      <a:pt x="0" y="763565"/>
                    </a:cubicBezTo>
                    <a:close/>
                  </a:path>
                </a:pathLst>
              </a:custGeom>
              <a:solidFill>
                <a:srgbClr val="56C7A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1" name="íṣlíďé"/>
              <p:cNvSpPr/>
              <p:nvPr/>
            </p:nvSpPr>
            <p:spPr>
              <a:xfrm>
                <a:off x="1104155" y="4245978"/>
                <a:ext cx="1009459" cy="2176938"/>
              </a:xfrm>
              <a:custGeom>
                <a:avLst/>
                <a:gdLst>
                  <a:gd name="connsiteX0" fmla="*/ 1009460 w 1009459"/>
                  <a:gd name="connsiteY0" fmla="*/ 742283 h 2176938"/>
                  <a:gd name="connsiteX1" fmla="*/ 645604 w 1009459"/>
                  <a:gd name="connsiteY1" fmla="*/ 0 h 2176938"/>
                  <a:gd name="connsiteX2" fmla="*/ 78772 w 1009459"/>
                  <a:gd name="connsiteY2" fmla="*/ 503587 h 2176938"/>
                  <a:gd name="connsiteX3" fmla="*/ 0 w 1009459"/>
                  <a:gd name="connsiteY3" fmla="*/ 2176939 h 2176938"/>
                  <a:gd name="connsiteX4" fmla="*/ 1009364 w 1009459"/>
                  <a:gd name="connsiteY4" fmla="*/ 2176939 h 2176938"/>
                  <a:gd name="connsiteX5" fmla="*/ 1009364 w 1009459"/>
                  <a:gd name="connsiteY5" fmla="*/ 742283 h 217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9" h="2176938">
                    <a:moveTo>
                      <a:pt x="1009460" y="742283"/>
                    </a:moveTo>
                    <a:cubicBezTo>
                      <a:pt x="1009460" y="335089"/>
                      <a:pt x="934307" y="0"/>
                      <a:pt x="645604" y="0"/>
                    </a:cubicBezTo>
                    <a:cubicBezTo>
                      <a:pt x="356902" y="0"/>
                      <a:pt x="78772" y="107442"/>
                      <a:pt x="78772" y="503587"/>
                    </a:cubicBezTo>
                    <a:cubicBezTo>
                      <a:pt x="78772" y="899731"/>
                      <a:pt x="0" y="2176939"/>
                      <a:pt x="0" y="2176939"/>
                    </a:cubicBezTo>
                    <a:lnTo>
                      <a:pt x="1009364" y="2176939"/>
                    </a:lnTo>
                    <a:lnTo>
                      <a:pt x="1009364" y="742283"/>
                    </a:lnTo>
                    <a:close/>
                  </a:path>
                </a:pathLst>
              </a:custGeom>
              <a:solidFill>
                <a:srgbClr val="56C7A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2" name="图形 278"/>
              <p:cNvGrpSpPr/>
              <p:nvPr/>
            </p:nvGrpSpPr>
            <p:grpSpPr>
              <a:xfrm>
                <a:off x="1454198" y="4205497"/>
                <a:ext cx="444341" cy="867346"/>
                <a:chOff x="1454198" y="4205497"/>
                <a:chExt cx="444341" cy="867346"/>
              </a:xfrm>
              <a:solidFill>
                <a:schemeClr val="accent1"/>
              </a:solidFill>
            </p:grpSpPr>
            <p:sp>
              <p:nvSpPr>
                <p:cNvPr id="187" name="ïṡḷiḑe"/>
                <p:cNvSpPr/>
                <p:nvPr/>
              </p:nvSpPr>
              <p:spPr>
                <a:xfrm>
                  <a:off x="1454198" y="4205497"/>
                  <a:ext cx="444341" cy="699134"/>
                </a:xfrm>
                <a:custGeom>
                  <a:avLst/>
                  <a:gdLst>
                    <a:gd name="connsiteX0" fmla="*/ 220980 w 444341"/>
                    <a:gd name="connsiteY0" fmla="*/ 0 h 699134"/>
                    <a:gd name="connsiteX1" fmla="*/ 220980 w 444341"/>
                    <a:gd name="connsiteY1" fmla="*/ 0 h 699134"/>
                    <a:gd name="connsiteX2" fmla="*/ 0 w 444341"/>
                    <a:gd name="connsiteY2" fmla="*/ 201549 h 699134"/>
                    <a:gd name="connsiteX3" fmla="*/ 223361 w 444341"/>
                    <a:gd name="connsiteY3" fmla="*/ 699135 h 699134"/>
                    <a:gd name="connsiteX4" fmla="*/ 444341 w 444341"/>
                    <a:gd name="connsiteY4" fmla="*/ 201549 h 699134"/>
                    <a:gd name="connsiteX5" fmla="*/ 220980 w 444341"/>
                    <a:gd name="connsiteY5" fmla="*/ 0 h 699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341" h="699134">
                      <a:moveTo>
                        <a:pt x="220980" y="0"/>
                      </a:moveTo>
                      <a:lnTo>
                        <a:pt x="220980" y="0"/>
                      </a:lnTo>
                      <a:cubicBezTo>
                        <a:pt x="197739" y="952"/>
                        <a:pt x="0" y="14383"/>
                        <a:pt x="0" y="201549"/>
                      </a:cubicBezTo>
                      <a:cubicBezTo>
                        <a:pt x="0" y="388430"/>
                        <a:pt x="199739" y="671798"/>
                        <a:pt x="223361" y="699135"/>
                      </a:cubicBezTo>
                      <a:cubicBezTo>
                        <a:pt x="247078" y="671893"/>
                        <a:pt x="444341" y="388525"/>
                        <a:pt x="444341" y="201549"/>
                      </a:cubicBezTo>
                      <a:cubicBezTo>
                        <a:pt x="444341" y="14383"/>
                        <a:pt x="244221" y="952"/>
                        <a:pt x="220980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8" name="i$ḻïďê"/>
                <p:cNvSpPr/>
                <p:nvPr/>
              </p:nvSpPr>
              <p:spPr>
                <a:xfrm>
                  <a:off x="1552687" y="4924825"/>
                  <a:ext cx="247364" cy="148018"/>
                </a:xfrm>
                <a:custGeom>
                  <a:avLst/>
                  <a:gdLst>
                    <a:gd name="connsiteX0" fmla="*/ 0 w 247364"/>
                    <a:gd name="connsiteY0" fmla="*/ 0 h 148018"/>
                    <a:gd name="connsiteX1" fmla="*/ 247364 w 247364"/>
                    <a:gd name="connsiteY1" fmla="*/ 0 h 148018"/>
                    <a:gd name="connsiteX2" fmla="*/ 247364 w 247364"/>
                    <a:gd name="connsiteY2" fmla="*/ 148018 h 148018"/>
                    <a:gd name="connsiteX3" fmla="*/ 0 w 247364"/>
                    <a:gd name="connsiteY3" fmla="*/ 148018 h 14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4" h="148018">
                      <a:moveTo>
                        <a:pt x="0" y="0"/>
                      </a:moveTo>
                      <a:lnTo>
                        <a:pt x="247364" y="0"/>
                      </a:lnTo>
                      <a:lnTo>
                        <a:pt x="247364" y="148018"/>
                      </a:lnTo>
                      <a:lnTo>
                        <a:pt x="0" y="1480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9" name="ïṩḷíḋè"/>
                <p:cNvSpPr/>
                <p:nvPr/>
              </p:nvSpPr>
              <p:spPr>
                <a:xfrm>
                  <a:off x="1677560" y="4904632"/>
                  <a:ext cx="9525" cy="40481"/>
                </a:xfrm>
                <a:custGeom>
                  <a:avLst/>
                  <a:gdLst>
                    <a:gd name="connsiteX0" fmla="*/ 0 w 9525"/>
                    <a:gd name="connsiteY0" fmla="*/ 0 h 40481"/>
                    <a:gd name="connsiteX1" fmla="*/ 0 w 9525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0481">
                      <a:moveTo>
                        <a:pt x="0" y="0"/>
                      </a:moveTo>
                      <a:lnTo>
                        <a:pt x="0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0" name="ïśḻîḍè"/>
                <p:cNvSpPr/>
                <p:nvPr/>
              </p:nvSpPr>
              <p:spPr>
                <a:xfrm>
                  <a:off x="1580119" y="4964068"/>
                  <a:ext cx="56197" cy="56197"/>
                </a:xfrm>
                <a:custGeom>
                  <a:avLst/>
                  <a:gdLst>
                    <a:gd name="connsiteX0" fmla="*/ 0 w 56197"/>
                    <a:gd name="connsiteY0" fmla="*/ 0 h 56197"/>
                    <a:gd name="connsiteX1" fmla="*/ 56198 w 56197"/>
                    <a:gd name="connsiteY1" fmla="*/ 0 h 56197"/>
                    <a:gd name="connsiteX2" fmla="*/ 56198 w 56197"/>
                    <a:gd name="connsiteY2" fmla="*/ 56197 h 56197"/>
                    <a:gd name="connsiteX3" fmla="*/ 0 w 56197"/>
                    <a:gd name="connsiteY3" fmla="*/ 56197 h 56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56197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56197"/>
                      </a:lnTo>
                      <a:lnTo>
                        <a:pt x="0" y="56197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1" name="ïṧlidé"/>
                <p:cNvSpPr/>
                <p:nvPr/>
              </p:nvSpPr>
              <p:spPr>
                <a:xfrm>
                  <a:off x="1664891" y="4964068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2" name="ïs1iḋe"/>
                <p:cNvSpPr/>
                <p:nvPr/>
              </p:nvSpPr>
              <p:spPr>
                <a:xfrm>
                  <a:off x="1664891" y="4987500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3" name="íṡḻïḓe"/>
                <p:cNvSpPr/>
                <p:nvPr/>
              </p:nvSpPr>
              <p:spPr>
                <a:xfrm>
                  <a:off x="1664891" y="5011026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4" name="iṣḻiḋê"/>
                <p:cNvSpPr/>
                <p:nvPr/>
              </p:nvSpPr>
              <p:spPr>
                <a:xfrm>
                  <a:off x="1664891" y="5034553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5" name="ïṧľiḋé"/>
                <p:cNvSpPr/>
                <p:nvPr/>
              </p:nvSpPr>
              <p:spPr>
                <a:xfrm>
                  <a:off x="1580119" y="5034553"/>
                  <a:ext cx="56197" cy="9144"/>
                </a:xfrm>
                <a:custGeom>
                  <a:avLst/>
                  <a:gdLst>
                    <a:gd name="connsiteX0" fmla="*/ 0 w 56197"/>
                    <a:gd name="connsiteY0" fmla="*/ 0 h 9144"/>
                    <a:gd name="connsiteX1" fmla="*/ 56198 w 56197"/>
                    <a:gd name="connsiteY1" fmla="*/ 0 h 9144"/>
                    <a:gd name="connsiteX2" fmla="*/ 56198 w 56197"/>
                    <a:gd name="connsiteY2" fmla="*/ 9144 h 9144"/>
                    <a:gd name="connsiteX3" fmla="*/ 0 w 56197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9144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3" name="î$ḻíḋê"/>
              <p:cNvSpPr/>
              <p:nvPr/>
            </p:nvSpPr>
            <p:spPr>
              <a:xfrm>
                <a:off x="1626334" y="4794332"/>
                <a:ext cx="851496" cy="914304"/>
              </a:xfrm>
              <a:custGeom>
                <a:avLst/>
                <a:gdLst>
                  <a:gd name="connsiteX0" fmla="*/ 610629 w 851496"/>
                  <a:gd name="connsiteY0" fmla="*/ 914305 h 914304"/>
                  <a:gd name="connsiteX1" fmla="*/ 71704 w 851496"/>
                  <a:gd name="connsiteY1" fmla="*/ 914305 h 914304"/>
                  <a:gd name="connsiteX2" fmla="*/ 1695 w 851496"/>
                  <a:gd name="connsiteY2" fmla="*/ 827246 h 914304"/>
                  <a:gd name="connsiteX3" fmla="*/ 170860 w 851496"/>
                  <a:gd name="connsiteY3" fmla="*/ 56293 h 914304"/>
                  <a:gd name="connsiteX4" fmla="*/ 240868 w 851496"/>
                  <a:gd name="connsiteY4" fmla="*/ 0 h 914304"/>
                  <a:gd name="connsiteX5" fmla="*/ 779793 w 851496"/>
                  <a:gd name="connsiteY5" fmla="*/ 0 h 914304"/>
                  <a:gd name="connsiteX6" fmla="*/ 849802 w 851496"/>
                  <a:gd name="connsiteY6" fmla="*/ 87058 h 914304"/>
                  <a:gd name="connsiteX7" fmla="*/ 680637 w 851496"/>
                  <a:gd name="connsiteY7" fmla="*/ 858012 h 914304"/>
                  <a:gd name="connsiteX8" fmla="*/ 610629 w 851496"/>
                  <a:gd name="connsiteY8" fmla="*/ 914305 h 91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496" h="914304">
                    <a:moveTo>
                      <a:pt x="610629" y="914305"/>
                    </a:moveTo>
                    <a:lnTo>
                      <a:pt x="71704" y="914305"/>
                    </a:lnTo>
                    <a:cubicBezTo>
                      <a:pt x="25889" y="914305"/>
                      <a:pt x="-8115" y="871918"/>
                      <a:pt x="1695" y="827246"/>
                    </a:cubicBezTo>
                    <a:lnTo>
                      <a:pt x="170860" y="56293"/>
                    </a:lnTo>
                    <a:cubicBezTo>
                      <a:pt x="178098" y="23432"/>
                      <a:pt x="207245" y="0"/>
                      <a:pt x="240868" y="0"/>
                    </a:cubicBezTo>
                    <a:lnTo>
                      <a:pt x="779793" y="0"/>
                    </a:lnTo>
                    <a:cubicBezTo>
                      <a:pt x="825608" y="0"/>
                      <a:pt x="859612" y="42386"/>
                      <a:pt x="849802" y="87058"/>
                    </a:cubicBezTo>
                    <a:lnTo>
                      <a:pt x="680637" y="858012"/>
                    </a:lnTo>
                    <a:cubicBezTo>
                      <a:pt x="673494" y="890873"/>
                      <a:pt x="644347" y="914305"/>
                      <a:pt x="610629" y="914305"/>
                    </a:cubicBez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4" name="ïṧ1íďê"/>
              <p:cNvSpPr/>
              <p:nvPr/>
            </p:nvSpPr>
            <p:spPr>
              <a:xfrm>
                <a:off x="940253" y="5021980"/>
                <a:ext cx="896850" cy="587025"/>
              </a:xfrm>
              <a:custGeom>
                <a:avLst/>
                <a:gdLst>
                  <a:gd name="connsiteX0" fmla="*/ 319445 w 896850"/>
                  <a:gd name="connsiteY0" fmla="*/ 298323 h 587025"/>
                  <a:gd name="connsiteX1" fmla="*/ 393359 w 896850"/>
                  <a:gd name="connsiteY1" fmla="*/ 71056 h 587025"/>
                  <a:gd name="connsiteX2" fmla="*/ 25789 w 896850"/>
                  <a:gd name="connsiteY2" fmla="*/ 0 h 587025"/>
                  <a:gd name="connsiteX3" fmla="*/ 178475 w 896850"/>
                  <a:gd name="connsiteY3" fmla="*/ 587026 h 587025"/>
                  <a:gd name="connsiteX4" fmla="*/ 896850 w 896850"/>
                  <a:gd name="connsiteY4" fmla="*/ 540067 h 587025"/>
                  <a:gd name="connsiteX5" fmla="*/ 896850 w 896850"/>
                  <a:gd name="connsiteY5" fmla="*/ 358807 h 587025"/>
                  <a:gd name="connsiteX6" fmla="*/ 319445 w 896850"/>
                  <a:gd name="connsiteY6" fmla="*/ 298323 h 587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850" h="587025">
                    <a:moveTo>
                      <a:pt x="319445" y="298323"/>
                    </a:moveTo>
                    <a:cubicBezTo>
                      <a:pt x="319445" y="298323"/>
                      <a:pt x="350306" y="207359"/>
                      <a:pt x="393359" y="71056"/>
                    </a:cubicBezTo>
                    <a:lnTo>
                      <a:pt x="25789" y="0"/>
                    </a:lnTo>
                    <a:cubicBezTo>
                      <a:pt x="-35647" y="473012"/>
                      <a:pt x="11692" y="587026"/>
                      <a:pt x="178475" y="587026"/>
                    </a:cubicBezTo>
                    <a:cubicBezTo>
                      <a:pt x="359735" y="587026"/>
                      <a:pt x="896850" y="540067"/>
                      <a:pt x="896850" y="540067"/>
                    </a:cubicBezTo>
                    <a:lnTo>
                      <a:pt x="896850" y="358807"/>
                    </a:lnTo>
                    <a:lnTo>
                      <a:pt x="319445" y="298323"/>
                    </a:ln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5" name="图形 278"/>
              <p:cNvGrpSpPr/>
              <p:nvPr/>
            </p:nvGrpSpPr>
            <p:grpSpPr>
              <a:xfrm>
                <a:off x="1361520" y="3449879"/>
                <a:ext cx="560532" cy="962691"/>
                <a:chOff x="1361520" y="3449879"/>
                <a:chExt cx="560532" cy="962691"/>
              </a:xfrm>
              <a:solidFill>
                <a:schemeClr val="accent1"/>
              </a:solidFill>
            </p:grpSpPr>
            <p:sp>
              <p:nvSpPr>
                <p:cNvPr id="172" name="ïŝlîdê"/>
                <p:cNvSpPr/>
                <p:nvPr/>
              </p:nvSpPr>
              <p:spPr>
                <a:xfrm>
                  <a:off x="1530303" y="4020617"/>
                  <a:ext cx="288702" cy="391953"/>
                </a:xfrm>
                <a:custGeom>
                  <a:avLst/>
                  <a:gdLst>
                    <a:gd name="connsiteX0" fmla="*/ 144304 w 288702"/>
                    <a:gd name="connsiteY0" fmla="*/ 391954 h 391953"/>
                    <a:gd name="connsiteX1" fmla="*/ 144304 w 288702"/>
                    <a:gd name="connsiteY1" fmla="*/ 391954 h 391953"/>
                    <a:gd name="connsiteX2" fmla="*/ 0 w 288702"/>
                    <a:gd name="connsiteY2" fmla="*/ 247650 h 391953"/>
                    <a:gd name="connsiteX3" fmla="*/ 0 w 288702"/>
                    <a:gd name="connsiteY3" fmla="*/ 0 h 391953"/>
                    <a:gd name="connsiteX4" fmla="*/ 288703 w 288702"/>
                    <a:gd name="connsiteY4" fmla="*/ 0 h 391953"/>
                    <a:gd name="connsiteX5" fmla="*/ 288703 w 288702"/>
                    <a:gd name="connsiteY5" fmla="*/ 247650 h 391953"/>
                    <a:gd name="connsiteX6" fmla="*/ 144304 w 288702"/>
                    <a:gd name="connsiteY6" fmla="*/ 391954 h 39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8702" h="391953">
                      <a:moveTo>
                        <a:pt x="144304" y="391954"/>
                      </a:moveTo>
                      <a:lnTo>
                        <a:pt x="144304" y="391954"/>
                      </a:lnTo>
                      <a:cubicBezTo>
                        <a:pt x="64579" y="391954"/>
                        <a:pt x="0" y="327374"/>
                        <a:pt x="0" y="247650"/>
                      </a:cubicBezTo>
                      <a:lnTo>
                        <a:pt x="0" y="0"/>
                      </a:lnTo>
                      <a:lnTo>
                        <a:pt x="288703" y="0"/>
                      </a:lnTo>
                      <a:lnTo>
                        <a:pt x="288703" y="247650"/>
                      </a:lnTo>
                      <a:cubicBezTo>
                        <a:pt x="288703" y="327279"/>
                        <a:pt x="224028" y="391954"/>
                        <a:pt x="144304" y="391954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3" name="ísľïḍê"/>
                <p:cNvSpPr/>
                <p:nvPr/>
              </p:nvSpPr>
              <p:spPr>
                <a:xfrm>
                  <a:off x="1431338" y="3449879"/>
                  <a:ext cx="490061" cy="663511"/>
                </a:xfrm>
                <a:custGeom>
                  <a:avLst/>
                  <a:gdLst>
                    <a:gd name="connsiteX0" fmla="*/ 490061 w 490061"/>
                    <a:gd name="connsiteY0" fmla="*/ 376523 h 663511"/>
                    <a:gd name="connsiteX1" fmla="*/ 268510 w 490061"/>
                    <a:gd name="connsiteY1" fmla="*/ 663511 h 663511"/>
                    <a:gd name="connsiteX2" fmla="*/ 0 w 490061"/>
                    <a:gd name="connsiteY2" fmla="*/ 376523 h 663511"/>
                    <a:gd name="connsiteX3" fmla="*/ 245078 w 490061"/>
                    <a:gd name="connsiteY3" fmla="*/ 0 h 663511"/>
                    <a:gd name="connsiteX4" fmla="*/ 490061 w 490061"/>
                    <a:gd name="connsiteY4" fmla="*/ 376523 h 663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061" h="663511">
                      <a:moveTo>
                        <a:pt x="490061" y="376523"/>
                      </a:moveTo>
                      <a:cubicBezTo>
                        <a:pt x="490061" y="560070"/>
                        <a:pt x="403765" y="663511"/>
                        <a:pt x="268510" y="663511"/>
                      </a:cubicBezTo>
                      <a:cubicBezTo>
                        <a:pt x="133160" y="663511"/>
                        <a:pt x="0" y="560070"/>
                        <a:pt x="0" y="376523"/>
                      </a:cubicBezTo>
                      <a:cubicBezTo>
                        <a:pt x="0" y="192976"/>
                        <a:pt x="0" y="0"/>
                        <a:pt x="245078" y="0"/>
                      </a:cubicBezTo>
                      <a:cubicBezTo>
                        <a:pt x="490061" y="0"/>
                        <a:pt x="490061" y="192976"/>
                        <a:pt x="490061" y="37652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4" name="íṧľíḋè"/>
                <p:cNvSpPr/>
                <p:nvPr/>
              </p:nvSpPr>
              <p:spPr>
                <a:xfrm>
                  <a:off x="1361520" y="3743765"/>
                  <a:ext cx="95154" cy="171505"/>
                </a:xfrm>
                <a:custGeom>
                  <a:avLst/>
                  <a:gdLst>
                    <a:gd name="connsiteX0" fmla="*/ 0 w 95154"/>
                    <a:gd name="connsiteY0" fmla="*/ 67778 h 171505"/>
                    <a:gd name="connsiteX1" fmla="*/ 95155 w 95154"/>
                    <a:gd name="connsiteY1" fmla="*/ 171505 h 171505"/>
                    <a:gd name="connsiteX2" fmla="*/ 95155 w 95154"/>
                    <a:gd name="connsiteY2" fmla="*/ 5484 h 171505"/>
                    <a:gd name="connsiteX3" fmla="*/ 0 w 95154"/>
                    <a:gd name="connsiteY3" fmla="*/ 67778 h 171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154" h="171505">
                      <a:moveTo>
                        <a:pt x="0" y="67778"/>
                      </a:moveTo>
                      <a:cubicBezTo>
                        <a:pt x="0" y="162933"/>
                        <a:pt x="95155" y="171505"/>
                        <a:pt x="95155" y="171505"/>
                      </a:cubicBezTo>
                      <a:lnTo>
                        <a:pt x="95155" y="5484"/>
                      </a:lnTo>
                      <a:cubicBezTo>
                        <a:pt x="95155" y="5484"/>
                        <a:pt x="0" y="-27377"/>
                        <a:pt x="0" y="6777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5" name="işḷíḍe"/>
                <p:cNvSpPr/>
                <p:nvPr/>
              </p:nvSpPr>
              <p:spPr>
                <a:xfrm>
                  <a:off x="1393524" y="3783369"/>
                  <a:ext cx="45815" cy="92276"/>
                </a:xfrm>
                <a:custGeom>
                  <a:avLst/>
                  <a:gdLst>
                    <a:gd name="connsiteX0" fmla="*/ 0 w 45815"/>
                    <a:gd name="connsiteY0" fmla="*/ 36460 h 92276"/>
                    <a:gd name="connsiteX1" fmla="*/ 45815 w 45815"/>
                    <a:gd name="connsiteY1" fmla="*/ 92277 h 92276"/>
                    <a:gd name="connsiteX2" fmla="*/ 45815 w 45815"/>
                    <a:gd name="connsiteY2" fmla="*/ 2932 h 92276"/>
                    <a:gd name="connsiteX3" fmla="*/ 0 w 45815"/>
                    <a:gd name="connsiteY3" fmla="*/ 36460 h 92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815" h="92276">
                      <a:moveTo>
                        <a:pt x="0" y="36460"/>
                      </a:moveTo>
                      <a:cubicBezTo>
                        <a:pt x="0" y="87610"/>
                        <a:pt x="45815" y="92277"/>
                        <a:pt x="45815" y="92277"/>
                      </a:cubicBezTo>
                      <a:lnTo>
                        <a:pt x="45815" y="2932"/>
                      </a:lnTo>
                      <a:cubicBezTo>
                        <a:pt x="45815" y="2932"/>
                        <a:pt x="0" y="-14689"/>
                        <a:pt x="0" y="3646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6" name="iSliďe"/>
                <p:cNvSpPr/>
                <p:nvPr/>
              </p:nvSpPr>
              <p:spPr>
                <a:xfrm>
                  <a:off x="1551353" y="3741820"/>
                  <a:ext cx="66484" cy="49529"/>
                </a:xfrm>
                <a:custGeom>
                  <a:avLst/>
                  <a:gdLst>
                    <a:gd name="connsiteX0" fmla="*/ 0 w 66484"/>
                    <a:gd name="connsiteY0" fmla="*/ 24765 h 49529"/>
                    <a:gd name="connsiteX1" fmla="*/ 33242 w 66484"/>
                    <a:gd name="connsiteY1" fmla="*/ 49530 h 49529"/>
                    <a:gd name="connsiteX2" fmla="*/ 66485 w 66484"/>
                    <a:gd name="connsiteY2" fmla="*/ 24765 h 49529"/>
                    <a:gd name="connsiteX3" fmla="*/ 33242 w 66484"/>
                    <a:gd name="connsiteY3" fmla="*/ 0 h 49529"/>
                    <a:gd name="connsiteX4" fmla="*/ 0 w 66484"/>
                    <a:gd name="connsiteY4" fmla="*/ 24765 h 49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29">
                      <a:moveTo>
                        <a:pt x="0" y="24765"/>
                      </a:moveTo>
                      <a:cubicBezTo>
                        <a:pt x="0" y="38481"/>
                        <a:pt x="14859" y="49530"/>
                        <a:pt x="33242" y="49530"/>
                      </a:cubicBezTo>
                      <a:cubicBezTo>
                        <a:pt x="51625" y="49530"/>
                        <a:pt x="66485" y="38481"/>
                        <a:pt x="66485" y="24765"/>
                      </a:cubicBezTo>
                      <a:cubicBezTo>
                        <a:pt x="66485" y="11049"/>
                        <a:pt x="51625" y="0"/>
                        <a:pt x="33242" y="0"/>
                      </a:cubicBezTo>
                      <a:cubicBezTo>
                        <a:pt x="14859" y="0"/>
                        <a:pt x="0" y="11049"/>
                        <a:pt x="0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7" name="ïšļiḍé"/>
                <p:cNvSpPr/>
                <p:nvPr/>
              </p:nvSpPr>
              <p:spPr>
                <a:xfrm>
                  <a:off x="1785668" y="3741820"/>
                  <a:ext cx="66484" cy="49529"/>
                </a:xfrm>
                <a:custGeom>
                  <a:avLst/>
                  <a:gdLst>
                    <a:gd name="connsiteX0" fmla="*/ 0 w 66484"/>
                    <a:gd name="connsiteY0" fmla="*/ 24765 h 49529"/>
                    <a:gd name="connsiteX1" fmla="*/ 33242 w 66484"/>
                    <a:gd name="connsiteY1" fmla="*/ 49530 h 49529"/>
                    <a:gd name="connsiteX2" fmla="*/ 66484 w 66484"/>
                    <a:gd name="connsiteY2" fmla="*/ 24765 h 49529"/>
                    <a:gd name="connsiteX3" fmla="*/ 33242 w 66484"/>
                    <a:gd name="connsiteY3" fmla="*/ 0 h 49529"/>
                    <a:gd name="connsiteX4" fmla="*/ 0 w 66484"/>
                    <a:gd name="connsiteY4" fmla="*/ 24765 h 49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29">
                      <a:moveTo>
                        <a:pt x="0" y="24765"/>
                      </a:moveTo>
                      <a:cubicBezTo>
                        <a:pt x="0" y="38481"/>
                        <a:pt x="14859" y="49530"/>
                        <a:pt x="33242" y="49530"/>
                      </a:cubicBezTo>
                      <a:cubicBezTo>
                        <a:pt x="51625" y="49530"/>
                        <a:pt x="66484" y="38481"/>
                        <a:pt x="66484" y="24765"/>
                      </a:cubicBezTo>
                      <a:cubicBezTo>
                        <a:pt x="66484" y="11049"/>
                        <a:pt x="51625" y="0"/>
                        <a:pt x="33242" y="0"/>
                      </a:cubicBezTo>
                      <a:cubicBezTo>
                        <a:pt x="14954" y="0"/>
                        <a:pt x="0" y="11049"/>
                        <a:pt x="0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8" name="îśḷîḓe"/>
                <p:cNvSpPr/>
                <p:nvPr/>
              </p:nvSpPr>
              <p:spPr>
                <a:xfrm>
                  <a:off x="1568784" y="3750774"/>
                  <a:ext cx="39623" cy="39623"/>
                </a:xfrm>
                <a:custGeom>
                  <a:avLst/>
                  <a:gdLst>
                    <a:gd name="connsiteX0" fmla="*/ 39624 w 39623"/>
                    <a:gd name="connsiteY0" fmla="*/ 19812 h 39623"/>
                    <a:gd name="connsiteX1" fmla="*/ 19812 w 39623"/>
                    <a:gd name="connsiteY1" fmla="*/ 39624 h 39623"/>
                    <a:gd name="connsiteX2" fmla="*/ 0 w 39623"/>
                    <a:gd name="connsiteY2" fmla="*/ 19812 h 39623"/>
                    <a:gd name="connsiteX3" fmla="*/ 19812 w 39623"/>
                    <a:gd name="connsiteY3" fmla="*/ 0 h 39623"/>
                    <a:gd name="connsiteX4" fmla="*/ 39624 w 39623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3" h="39623">
                      <a:moveTo>
                        <a:pt x="39624" y="19812"/>
                      </a:moveTo>
                      <a:cubicBezTo>
                        <a:pt x="39624" y="30754"/>
                        <a:pt x="30754" y="39624"/>
                        <a:pt x="19812" y="39624"/>
                      </a:cubicBezTo>
                      <a:cubicBezTo>
                        <a:pt x="8870" y="39624"/>
                        <a:pt x="0" y="30754"/>
                        <a:pt x="0" y="19812"/>
                      </a:cubicBezTo>
                      <a:cubicBezTo>
                        <a:pt x="0" y="8870"/>
                        <a:pt x="8870" y="0"/>
                        <a:pt x="19812" y="0"/>
                      </a:cubicBezTo>
                      <a:cubicBezTo>
                        <a:pt x="30754" y="0"/>
                        <a:pt x="39624" y="8870"/>
                        <a:pt x="39624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9" name="iṧḷiďè"/>
                <p:cNvSpPr/>
                <p:nvPr/>
              </p:nvSpPr>
              <p:spPr>
                <a:xfrm>
                  <a:off x="1803194" y="3750774"/>
                  <a:ext cx="39624" cy="39623"/>
                </a:xfrm>
                <a:custGeom>
                  <a:avLst/>
                  <a:gdLst>
                    <a:gd name="connsiteX0" fmla="*/ 39624 w 39624"/>
                    <a:gd name="connsiteY0" fmla="*/ 19812 h 39623"/>
                    <a:gd name="connsiteX1" fmla="*/ 19812 w 39624"/>
                    <a:gd name="connsiteY1" fmla="*/ 39624 h 39623"/>
                    <a:gd name="connsiteX2" fmla="*/ 0 w 39624"/>
                    <a:gd name="connsiteY2" fmla="*/ 19812 h 39623"/>
                    <a:gd name="connsiteX3" fmla="*/ 19812 w 39624"/>
                    <a:gd name="connsiteY3" fmla="*/ 0 h 39623"/>
                    <a:gd name="connsiteX4" fmla="*/ 39624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39624" y="19812"/>
                      </a:moveTo>
                      <a:cubicBezTo>
                        <a:pt x="39624" y="30754"/>
                        <a:pt x="30754" y="39624"/>
                        <a:pt x="19812" y="39624"/>
                      </a:cubicBezTo>
                      <a:cubicBezTo>
                        <a:pt x="8870" y="39624"/>
                        <a:pt x="0" y="30754"/>
                        <a:pt x="0" y="19812"/>
                      </a:cubicBezTo>
                      <a:cubicBezTo>
                        <a:pt x="0" y="8870"/>
                        <a:pt x="8870" y="0"/>
                        <a:pt x="19812" y="0"/>
                      </a:cubicBezTo>
                      <a:cubicBezTo>
                        <a:pt x="30754" y="0"/>
                        <a:pt x="39624" y="8870"/>
                        <a:pt x="39624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0" name="íṥļîḋe"/>
                <p:cNvSpPr/>
                <p:nvPr/>
              </p:nvSpPr>
              <p:spPr>
                <a:xfrm>
                  <a:off x="1699848" y="3783349"/>
                  <a:ext cx="46989" cy="131921"/>
                </a:xfrm>
                <a:custGeom>
                  <a:avLst/>
                  <a:gdLst>
                    <a:gd name="connsiteX0" fmla="*/ 0 w 46989"/>
                    <a:gd name="connsiteY0" fmla="*/ 0 h 131921"/>
                    <a:gd name="connsiteX1" fmla="*/ 0 w 46989"/>
                    <a:gd name="connsiteY1" fmla="*/ 131921 h 131921"/>
                    <a:gd name="connsiteX2" fmla="*/ 0 w 46989"/>
                    <a:gd name="connsiteY2" fmla="*/ 0 h 131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89" h="131921">
                      <a:moveTo>
                        <a:pt x="0" y="0"/>
                      </a:moveTo>
                      <a:lnTo>
                        <a:pt x="0" y="131921"/>
                      </a:lnTo>
                      <a:cubicBezTo>
                        <a:pt x="105727" y="131921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1" name="ïṩliḑe"/>
                <p:cNvSpPr/>
                <p:nvPr/>
              </p:nvSpPr>
              <p:spPr>
                <a:xfrm>
                  <a:off x="1642793" y="3957275"/>
                  <a:ext cx="114109" cy="13123"/>
                </a:xfrm>
                <a:custGeom>
                  <a:avLst/>
                  <a:gdLst>
                    <a:gd name="connsiteX0" fmla="*/ 0 w 114109"/>
                    <a:gd name="connsiteY0" fmla="*/ 0 h 13123"/>
                    <a:gd name="connsiteX1" fmla="*/ 114109 w 114109"/>
                    <a:gd name="connsiteY1" fmla="*/ 0 h 13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109" h="13123">
                      <a:moveTo>
                        <a:pt x="0" y="0"/>
                      </a:moveTo>
                      <a:cubicBezTo>
                        <a:pt x="0" y="0"/>
                        <a:pt x="57055" y="29527"/>
                        <a:pt x="114109" y="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2" name="î$líďé"/>
                <p:cNvSpPr/>
                <p:nvPr/>
              </p:nvSpPr>
              <p:spPr>
                <a:xfrm>
                  <a:off x="1548115" y="3716081"/>
                  <a:ext cx="72961" cy="12022"/>
                </a:xfrm>
                <a:custGeom>
                  <a:avLst/>
                  <a:gdLst>
                    <a:gd name="connsiteX0" fmla="*/ 72961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1" y="12023"/>
                      </a:moveTo>
                      <a:cubicBezTo>
                        <a:pt x="72961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3" name="iśľïďe"/>
                <p:cNvSpPr/>
                <p:nvPr/>
              </p:nvSpPr>
              <p:spPr>
                <a:xfrm>
                  <a:off x="1782525" y="371608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4" name="îṡlîḋé"/>
                <p:cNvSpPr/>
                <p:nvPr/>
              </p:nvSpPr>
              <p:spPr>
                <a:xfrm>
                  <a:off x="1468391" y="3816496"/>
                  <a:ext cx="140779" cy="140779"/>
                </a:xfrm>
                <a:custGeom>
                  <a:avLst/>
                  <a:gdLst>
                    <a:gd name="connsiteX0" fmla="*/ 140779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79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79" y="70390"/>
                      </a:moveTo>
                      <a:cubicBezTo>
                        <a:pt x="140779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5" y="0"/>
                        <a:pt x="70390" y="0"/>
                      </a:cubicBezTo>
                      <a:cubicBezTo>
                        <a:pt x="109265" y="0"/>
                        <a:pt x="140779" y="31515"/>
                        <a:pt x="140779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5" name="íS1ïḓè"/>
                <p:cNvSpPr/>
                <p:nvPr/>
              </p:nvSpPr>
              <p:spPr>
                <a:xfrm>
                  <a:off x="1799194" y="3816401"/>
                  <a:ext cx="121920" cy="140779"/>
                </a:xfrm>
                <a:custGeom>
                  <a:avLst/>
                  <a:gdLst>
                    <a:gd name="connsiteX0" fmla="*/ 70390 w 121920"/>
                    <a:gd name="connsiteY0" fmla="*/ 0 h 140779"/>
                    <a:gd name="connsiteX1" fmla="*/ 0 w 121920"/>
                    <a:gd name="connsiteY1" fmla="*/ 70390 h 140779"/>
                    <a:gd name="connsiteX2" fmla="*/ 70390 w 121920"/>
                    <a:gd name="connsiteY2" fmla="*/ 140779 h 140779"/>
                    <a:gd name="connsiteX3" fmla="*/ 107156 w 121920"/>
                    <a:gd name="connsiteY3" fmla="*/ 130207 h 140779"/>
                    <a:gd name="connsiteX4" fmla="*/ 121920 w 121920"/>
                    <a:gd name="connsiteY4" fmla="*/ 22574 h 140779"/>
                    <a:gd name="connsiteX5" fmla="*/ 70390 w 121920"/>
                    <a:gd name="connsiteY5" fmla="*/ 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1920" h="140779">
                      <a:moveTo>
                        <a:pt x="70390" y="0"/>
                      </a:moveTo>
                      <a:cubicBezTo>
                        <a:pt x="31528" y="0"/>
                        <a:pt x="0" y="31528"/>
                        <a:pt x="0" y="70390"/>
                      </a:cubicBezTo>
                      <a:cubicBezTo>
                        <a:pt x="0" y="109252"/>
                        <a:pt x="31528" y="140779"/>
                        <a:pt x="70390" y="140779"/>
                      </a:cubicBezTo>
                      <a:cubicBezTo>
                        <a:pt x="83915" y="140779"/>
                        <a:pt x="96393" y="136779"/>
                        <a:pt x="107156" y="130207"/>
                      </a:cubicBezTo>
                      <a:cubicBezTo>
                        <a:pt x="116015" y="98489"/>
                        <a:pt x="120968" y="62484"/>
                        <a:pt x="121920" y="22574"/>
                      </a:cubicBezTo>
                      <a:cubicBezTo>
                        <a:pt x="108966" y="8858"/>
                        <a:pt x="90773" y="0"/>
                        <a:pt x="70390" y="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86" name="í$ļîdê"/>
                <p:cNvSpPr/>
                <p:nvPr/>
              </p:nvSpPr>
              <p:spPr>
                <a:xfrm>
                  <a:off x="1430516" y="3738119"/>
                  <a:ext cx="491536" cy="396130"/>
                </a:xfrm>
                <a:custGeom>
                  <a:avLst/>
                  <a:gdLst>
                    <a:gd name="connsiteX0" fmla="*/ 481454 w 491536"/>
                    <a:gd name="connsiteY0" fmla="*/ 150767 h 396130"/>
                    <a:gd name="connsiteX1" fmla="*/ 466119 w 491536"/>
                    <a:gd name="connsiteY1" fmla="*/ 227062 h 396130"/>
                    <a:gd name="connsiteX2" fmla="*/ 420494 w 491536"/>
                    <a:gd name="connsiteY2" fmla="*/ 129621 h 396130"/>
                    <a:gd name="connsiteX3" fmla="*/ 490884 w 491536"/>
                    <a:gd name="connsiteY3" fmla="*/ 7225 h 396130"/>
                    <a:gd name="connsiteX4" fmla="*/ 489074 w 491536"/>
                    <a:gd name="connsiteY4" fmla="*/ 653 h 396130"/>
                    <a:gd name="connsiteX5" fmla="*/ 482502 w 491536"/>
                    <a:gd name="connsiteY5" fmla="*/ 2462 h 396130"/>
                    <a:gd name="connsiteX6" fmla="*/ 412779 w 491536"/>
                    <a:gd name="connsiteY6" fmla="*/ 123906 h 396130"/>
                    <a:gd name="connsiteX7" fmla="*/ 245806 w 491536"/>
                    <a:gd name="connsiteY7" fmla="*/ 123906 h 396130"/>
                    <a:gd name="connsiteX8" fmla="*/ 78832 w 491536"/>
                    <a:gd name="connsiteY8" fmla="*/ 123906 h 396130"/>
                    <a:gd name="connsiteX9" fmla="*/ 9014 w 491536"/>
                    <a:gd name="connsiteY9" fmla="*/ 2462 h 396130"/>
                    <a:gd name="connsiteX10" fmla="*/ 2442 w 491536"/>
                    <a:gd name="connsiteY10" fmla="*/ 653 h 396130"/>
                    <a:gd name="connsiteX11" fmla="*/ 632 w 491536"/>
                    <a:gd name="connsiteY11" fmla="*/ 7225 h 396130"/>
                    <a:gd name="connsiteX12" fmla="*/ 71022 w 491536"/>
                    <a:gd name="connsiteY12" fmla="*/ 129621 h 396130"/>
                    <a:gd name="connsiteX13" fmla="*/ 25397 w 491536"/>
                    <a:gd name="connsiteY13" fmla="*/ 227062 h 396130"/>
                    <a:gd name="connsiteX14" fmla="*/ 10062 w 491536"/>
                    <a:gd name="connsiteY14" fmla="*/ 150767 h 396130"/>
                    <a:gd name="connsiteX15" fmla="*/ 4728 w 491536"/>
                    <a:gd name="connsiteY15" fmla="*/ 151338 h 396130"/>
                    <a:gd name="connsiteX16" fmla="*/ 346 w 491536"/>
                    <a:gd name="connsiteY16" fmla="*/ 150862 h 396130"/>
                    <a:gd name="connsiteX17" fmla="*/ 21492 w 491536"/>
                    <a:gd name="connsiteY17" fmla="*/ 244207 h 396130"/>
                    <a:gd name="connsiteX18" fmla="*/ 21873 w 491536"/>
                    <a:gd name="connsiteY18" fmla="*/ 244016 h 396130"/>
                    <a:gd name="connsiteX19" fmla="*/ 245710 w 491536"/>
                    <a:gd name="connsiteY19" fmla="*/ 396131 h 396130"/>
                    <a:gd name="connsiteX20" fmla="*/ 469548 w 491536"/>
                    <a:gd name="connsiteY20" fmla="*/ 244016 h 396130"/>
                    <a:gd name="connsiteX21" fmla="*/ 469929 w 491536"/>
                    <a:gd name="connsiteY21" fmla="*/ 244207 h 396130"/>
                    <a:gd name="connsiteX22" fmla="*/ 491074 w 491536"/>
                    <a:gd name="connsiteY22" fmla="*/ 150862 h 396130"/>
                    <a:gd name="connsiteX23" fmla="*/ 486693 w 491536"/>
                    <a:gd name="connsiteY23" fmla="*/ 151338 h 396130"/>
                    <a:gd name="connsiteX24" fmla="*/ 481454 w 491536"/>
                    <a:gd name="connsiteY24" fmla="*/ 150767 h 396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491536" h="396130">
                      <a:moveTo>
                        <a:pt x="481454" y="150767"/>
                      </a:moveTo>
                      <a:cubicBezTo>
                        <a:pt x="477073" y="188676"/>
                        <a:pt x="470596" y="213441"/>
                        <a:pt x="466119" y="227062"/>
                      </a:cubicBezTo>
                      <a:cubicBezTo>
                        <a:pt x="438306" y="185914"/>
                        <a:pt x="424780" y="144480"/>
                        <a:pt x="420494" y="129621"/>
                      </a:cubicBezTo>
                      <a:lnTo>
                        <a:pt x="490884" y="7225"/>
                      </a:lnTo>
                      <a:cubicBezTo>
                        <a:pt x="492217" y="4939"/>
                        <a:pt x="491455" y="1986"/>
                        <a:pt x="489074" y="653"/>
                      </a:cubicBezTo>
                      <a:cubicBezTo>
                        <a:pt x="486788" y="-681"/>
                        <a:pt x="483836" y="81"/>
                        <a:pt x="482502" y="2462"/>
                      </a:cubicBezTo>
                      <a:lnTo>
                        <a:pt x="412779" y="123906"/>
                      </a:lnTo>
                      <a:lnTo>
                        <a:pt x="245806" y="123906"/>
                      </a:lnTo>
                      <a:lnTo>
                        <a:pt x="78832" y="123906"/>
                      </a:lnTo>
                      <a:lnTo>
                        <a:pt x="9014" y="2462"/>
                      </a:lnTo>
                      <a:cubicBezTo>
                        <a:pt x="7681" y="176"/>
                        <a:pt x="4728" y="-681"/>
                        <a:pt x="2442" y="653"/>
                      </a:cubicBezTo>
                      <a:cubicBezTo>
                        <a:pt x="156" y="1986"/>
                        <a:pt x="-701" y="4939"/>
                        <a:pt x="632" y="7225"/>
                      </a:cubicBezTo>
                      <a:lnTo>
                        <a:pt x="71022" y="129621"/>
                      </a:lnTo>
                      <a:cubicBezTo>
                        <a:pt x="66736" y="144480"/>
                        <a:pt x="53210" y="185914"/>
                        <a:pt x="25397" y="227062"/>
                      </a:cubicBezTo>
                      <a:cubicBezTo>
                        <a:pt x="21016" y="213441"/>
                        <a:pt x="14443" y="188581"/>
                        <a:pt x="10062" y="150767"/>
                      </a:cubicBezTo>
                      <a:cubicBezTo>
                        <a:pt x="8252" y="150957"/>
                        <a:pt x="6538" y="151338"/>
                        <a:pt x="4728" y="151338"/>
                      </a:cubicBezTo>
                      <a:cubicBezTo>
                        <a:pt x="3204" y="151338"/>
                        <a:pt x="1775" y="151052"/>
                        <a:pt x="346" y="150862"/>
                      </a:cubicBezTo>
                      <a:cubicBezTo>
                        <a:pt x="7681" y="215346"/>
                        <a:pt x="20920" y="243064"/>
                        <a:pt x="21492" y="244207"/>
                      </a:cubicBezTo>
                      <a:lnTo>
                        <a:pt x="21873" y="244016"/>
                      </a:lnTo>
                      <a:cubicBezTo>
                        <a:pt x="57306" y="333075"/>
                        <a:pt x="144079" y="396131"/>
                        <a:pt x="245710" y="396131"/>
                      </a:cubicBezTo>
                      <a:cubicBezTo>
                        <a:pt x="347342" y="396131"/>
                        <a:pt x="434115" y="333075"/>
                        <a:pt x="469548" y="244016"/>
                      </a:cubicBezTo>
                      <a:lnTo>
                        <a:pt x="469929" y="244207"/>
                      </a:lnTo>
                      <a:cubicBezTo>
                        <a:pt x="470500" y="243064"/>
                        <a:pt x="483740" y="215251"/>
                        <a:pt x="491074" y="150862"/>
                      </a:cubicBezTo>
                      <a:cubicBezTo>
                        <a:pt x="489646" y="150957"/>
                        <a:pt x="488217" y="151338"/>
                        <a:pt x="486693" y="151338"/>
                      </a:cubicBezTo>
                      <a:cubicBezTo>
                        <a:pt x="484978" y="151338"/>
                        <a:pt x="483264" y="150957"/>
                        <a:pt x="481454" y="150767"/>
                      </a:cubicBezTo>
                      <a:close/>
                    </a:path>
                  </a:pathLst>
                </a:custGeom>
                <a:solidFill>
                  <a:srgbClr val="CCE9FC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6" name="íṩḷîdé"/>
              <p:cNvSpPr/>
              <p:nvPr/>
            </p:nvSpPr>
            <p:spPr>
              <a:xfrm>
                <a:off x="1798908" y="5315134"/>
                <a:ext cx="401733" cy="250437"/>
              </a:xfrm>
              <a:custGeom>
                <a:avLst/>
                <a:gdLst>
                  <a:gd name="connsiteX0" fmla="*/ 22098 w 401733"/>
                  <a:gd name="connsiteY0" fmla="*/ 74320 h 250437"/>
                  <a:gd name="connsiteX1" fmla="*/ 286703 w 401733"/>
                  <a:gd name="connsiteY1" fmla="*/ 7169 h 250437"/>
                  <a:gd name="connsiteX2" fmla="*/ 231267 w 401733"/>
                  <a:gd name="connsiteY2" fmla="*/ 62509 h 250437"/>
                  <a:gd name="connsiteX3" fmla="*/ 401669 w 401733"/>
                  <a:gd name="connsiteY3" fmla="*/ 83940 h 250437"/>
                  <a:gd name="connsiteX4" fmla="*/ 352616 w 401733"/>
                  <a:gd name="connsiteY4" fmla="*/ 115849 h 250437"/>
                  <a:gd name="connsiteX5" fmla="*/ 369951 w 401733"/>
                  <a:gd name="connsiteY5" fmla="*/ 135090 h 250437"/>
                  <a:gd name="connsiteX6" fmla="*/ 335471 w 401733"/>
                  <a:gd name="connsiteY6" fmla="*/ 159759 h 250437"/>
                  <a:gd name="connsiteX7" fmla="*/ 310229 w 401733"/>
                  <a:gd name="connsiteY7" fmla="*/ 194430 h 250437"/>
                  <a:gd name="connsiteX8" fmla="*/ 255270 w 401733"/>
                  <a:gd name="connsiteY8" fmla="*/ 235007 h 250437"/>
                  <a:gd name="connsiteX9" fmla="*/ 0 w 401733"/>
                  <a:gd name="connsiteY9" fmla="*/ 250437 h 2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1733" h="250437">
                    <a:moveTo>
                      <a:pt x="22098" y="74320"/>
                    </a:moveTo>
                    <a:cubicBezTo>
                      <a:pt x="22098" y="74320"/>
                      <a:pt x="259937" y="-27407"/>
                      <a:pt x="286703" y="7169"/>
                    </a:cubicBezTo>
                    <a:cubicBezTo>
                      <a:pt x="313563" y="41745"/>
                      <a:pt x="231267" y="62509"/>
                      <a:pt x="231267" y="62509"/>
                    </a:cubicBezTo>
                    <a:cubicBezTo>
                      <a:pt x="231267" y="62509"/>
                      <a:pt x="405575" y="53175"/>
                      <a:pt x="401669" y="83940"/>
                    </a:cubicBezTo>
                    <a:cubicBezTo>
                      <a:pt x="397859" y="114611"/>
                      <a:pt x="352616" y="115849"/>
                      <a:pt x="352616" y="115849"/>
                    </a:cubicBezTo>
                    <a:cubicBezTo>
                      <a:pt x="352616" y="115849"/>
                      <a:pt x="371951" y="119183"/>
                      <a:pt x="369951" y="135090"/>
                    </a:cubicBezTo>
                    <a:cubicBezTo>
                      <a:pt x="367951" y="150901"/>
                      <a:pt x="335947" y="155759"/>
                      <a:pt x="335471" y="159759"/>
                    </a:cubicBezTo>
                    <a:cubicBezTo>
                      <a:pt x="365665" y="169189"/>
                      <a:pt x="347472" y="199098"/>
                      <a:pt x="310229" y="194430"/>
                    </a:cubicBezTo>
                    <a:cubicBezTo>
                      <a:pt x="339757" y="215862"/>
                      <a:pt x="309563" y="232149"/>
                      <a:pt x="255270" y="235007"/>
                    </a:cubicBezTo>
                    <a:cubicBezTo>
                      <a:pt x="200978" y="237864"/>
                      <a:pt x="0" y="250437"/>
                      <a:pt x="0" y="250437"/>
                    </a:cubicBezTo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7" name="ïŝḷiďé"/>
              <p:cNvSpPr/>
              <p:nvPr/>
            </p:nvSpPr>
            <p:spPr>
              <a:xfrm>
                <a:off x="2113602" y="5072904"/>
                <a:ext cx="375147" cy="265215"/>
              </a:xfrm>
              <a:custGeom>
                <a:avLst/>
                <a:gdLst>
                  <a:gd name="connsiteX0" fmla="*/ 12 w 375147"/>
                  <a:gd name="connsiteY0" fmla="*/ 62614 h 265215"/>
                  <a:gd name="connsiteX1" fmla="*/ 171748 w 375147"/>
                  <a:gd name="connsiteY1" fmla="*/ 67472 h 265215"/>
                  <a:gd name="connsiteX2" fmla="*/ 125456 w 375147"/>
                  <a:gd name="connsiteY2" fmla="*/ 4321 h 265215"/>
                  <a:gd name="connsiteX3" fmla="*/ 325577 w 375147"/>
                  <a:gd name="connsiteY3" fmla="*/ 80617 h 265215"/>
                  <a:gd name="connsiteX4" fmla="*/ 375107 w 375147"/>
                  <a:gd name="connsiteY4" fmla="*/ 169104 h 265215"/>
                  <a:gd name="connsiteX5" fmla="*/ 375107 w 375147"/>
                  <a:gd name="connsiteY5" fmla="*/ 169104 h 265215"/>
                  <a:gd name="connsiteX6" fmla="*/ 255282 w 375147"/>
                  <a:gd name="connsiteY6" fmla="*/ 262925 h 265215"/>
                  <a:gd name="connsiteX7" fmla="*/ 121742 w 375147"/>
                  <a:gd name="connsiteY7" fmla="*/ 234160 h 265215"/>
                  <a:gd name="connsiteX8" fmla="*/ 73545 w 375147"/>
                  <a:gd name="connsiteY8" fmla="*/ 185677 h 265215"/>
                  <a:gd name="connsiteX9" fmla="*/ 53828 w 375147"/>
                  <a:gd name="connsiteY9" fmla="*/ 147577 h 265215"/>
                  <a:gd name="connsiteX10" fmla="*/ 23539 w 375147"/>
                  <a:gd name="connsiteY10" fmla="*/ 117955 h 265215"/>
                  <a:gd name="connsiteX11" fmla="*/ 43541 w 375147"/>
                  <a:gd name="connsiteY11" fmla="*/ 101667 h 265215"/>
                  <a:gd name="connsiteX12" fmla="*/ 12 w 375147"/>
                  <a:gd name="connsiteY12" fmla="*/ 62614 h 26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147" h="265215">
                    <a:moveTo>
                      <a:pt x="12" y="62614"/>
                    </a:moveTo>
                    <a:cubicBezTo>
                      <a:pt x="869" y="31753"/>
                      <a:pt x="171748" y="67472"/>
                      <a:pt x="171748" y="67472"/>
                    </a:cubicBezTo>
                    <a:cubicBezTo>
                      <a:pt x="171748" y="67472"/>
                      <a:pt x="93643" y="34325"/>
                      <a:pt x="125456" y="4321"/>
                    </a:cubicBezTo>
                    <a:cubicBezTo>
                      <a:pt x="147364" y="-16443"/>
                      <a:pt x="258711" y="42326"/>
                      <a:pt x="325577" y="80617"/>
                    </a:cubicBezTo>
                    <a:cubicBezTo>
                      <a:pt x="357200" y="98714"/>
                      <a:pt x="376154" y="132718"/>
                      <a:pt x="375107" y="169104"/>
                    </a:cubicBezTo>
                    <a:lnTo>
                      <a:pt x="375107" y="169104"/>
                    </a:lnTo>
                    <a:cubicBezTo>
                      <a:pt x="373392" y="231016"/>
                      <a:pt x="315861" y="276070"/>
                      <a:pt x="255282" y="262925"/>
                    </a:cubicBezTo>
                    <a:cubicBezTo>
                      <a:pt x="202609" y="251495"/>
                      <a:pt x="146602" y="239303"/>
                      <a:pt x="121742" y="234160"/>
                    </a:cubicBezTo>
                    <a:cubicBezTo>
                      <a:pt x="68497" y="223111"/>
                      <a:pt x="41160" y="202346"/>
                      <a:pt x="73545" y="185677"/>
                    </a:cubicBezTo>
                    <a:cubicBezTo>
                      <a:pt x="36017" y="184630"/>
                      <a:pt x="22586" y="152245"/>
                      <a:pt x="53828" y="147577"/>
                    </a:cubicBezTo>
                    <a:cubicBezTo>
                      <a:pt x="53924" y="143577"/>
                      <a:pt x="23063" y="133957"/>
                      <a:pt x="23539" y="117955"/>
                    </a:cubicBezTo>
                    <a:cubicBezTo>
                      <a:pt x="24015" y="101953"/>
                      <a:pt x="43541" y="101667"/>
                      <a:pt x="43541" y="101667"/>
                    </a:cubicBezTo>
                    <a:cubicBezTo>
                      <a:pt x="43541" y="101667"/>
                      <a:pt x="-845" y="93475"/>
                      <a:pt x="12" y="62614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ïṩḷîdê"/>
              <p:cNvSpPr/>
              <p:nvPr/>
            </p:nvSpPr>
            <p:spPr>
              <a:xfrm>
                <a:off x="1317908" y="3400408"/>
                <a:ext cx="544912" cy="350407"/>
              </a:xfrm>
              <a:custGeom>
                <a:avLst/>
                <a:gdLst>
                  <a:gd name="connsiteX0" fmla="*/ 1130 w 544912"/>
                  <a:gd name="connsiteY0" fmla="*/ 350366 h 350407"/>
                  <a:gd name="connsiteX1" fmla="*/ 544912 w 544912"/>
                  <a:gd name="connsiteY1" fmla="*/ 56329 h 350407"/>
                  <a:gd name="connsiteX2" fmla="*/ 1130 w 544912"/>
                  <a:gd name="connsiteY2" fmla="*/ 350366 h 35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4912" h="350407">
                    <a:moveTo>
                      <a:pt x="1130" y="350366"/>
                    </a:moveTo>
                    <a:cubicBezTo>
                      <a:pt x="1130" y="350366"/>
                      <a:pt x="389750" y="360653"/>
                      <a:pt x="544912" y="56329"/>
                    </a:cubicBezTo>
                    <a:cubicBezTo>
                      <a:pt x="205537" y="-116645"/>
                      <a:pt x="-17920" y="145197"/>
                      <a:pt x="1130" y="350366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9" name="ïślîďé"/>
              <p:cNvSpPr/>
              <p:nvPr/>
            </p:nvSpPr>
            <p:spPr>
              <a:xfrm>
                <a:off x="1520325" y="4253313"/>
                <a:ext cx="309656" cy="377571"/>
              </a:xfrm>
              <a:custGeom>
                <a:avLst/>
                <a:gdLst>
                  <a:gd name="connsiteX0" fmla="*/ 9978 w 309656"/>
                  <a:gd name="connsiteY0" fmla="*/ 0 h 377571"/>
                  <a:gd name="connsiteX1" fmla="*/ 152853 w 309656"/>
                  <a:gd name="connsiteY1" fmla="*/ 147066 h 377571"/>
                  <a:gd name="connsiteX2" fmla="*/ 299252 w 309656"/>
                  <a:gd name="connsiteY2" fmla="*/ 0 h 377571"/>
                  <a:gd name="connsiteX3" fmla="*/ 152853 w 309656"/>
                  <a:gd name="connsiteY3" fmla="*/ 377571 h 377571"/>
                  <a:gd name="connsiteX4" fmla="*/ 9978 w 309656"/>
                  <a:gd name="connsiteY4" fmla="*/ 0 h 37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56" h="377571">
                    <a:moveTo>
                      <a:pt x="9978" y="0"/>
                    </a:moveTo>
                    <a:cubicBezTo>
                      <a:pt x="9978" y="0"/>
                      <a:pt x="44649" y="147066"/>
                      <a:pt x="152853" y="147066"/>
                    </a:cubicBezTo>
                    <a:cubicBezTo>
                      <a:pt x="261057" y="147066"/>
                      <a:pt x="299252" y="0"/>
                      <a:pt x="299252" y="0"/>
                    </a:cubicBezTo>
                    <a:cubicBezTo>
                      <a:pt x="299252" y="0"/>
                      <a:pt x="367832" y="162592"/>
                      <a:pt x="152853" y="377571"/>
                    </a:cubicBezTo>
                    <a:cubicBezTo>
                      <a:pt x="-56316" y="164687"/>
                      <a:pt x="9978" y="0"/>
                      <a:pt x="9978" y="0"/>
                    </a:cubicBez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ïŝľïdé"/>
              <p:cNvSpPr/>
              <p:nvPr/>
            </p:nvSpPr>
            <p:spPr>
              <a:xfrm>
                <a:off x="1182259" y="6004484"/>
                <a:ext cx="234600" cy="234886"/>
              </a:xfrm>
              <a:custGeom>
                <a:avLst/>
                <a:gdLst>
                  <a:gd name="connsiteX0" fmla="*/ 0 w 234600"/>
                  <a:gd name="connsiteY0" fmla="*/ 176022 h 234886"/>
                  <a:gd name="connsiteX1" fmla="*/ 175927 w 234600"/>
                  <a:gd name="connsiteY1" fmla="*/ 0 h 234886"/>
                  <a:gd name="connsiteX2" fmla="*/ 234601 w 234600"/>
                  <a:gd name="connsiteY2" fmla="*/ 58674 h 234886"/>
                  <a:gd name="connsiteX3" fmla="*/ 58388 w 234600"/>
                  <a:gd name="connsiteY3" fmla="*/ 234887 h 23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600" h="234886">
                    <a:moveTo>
                      <a:pt x="0" y="176022"/>
                    </a:moveTo>
                    <a:lnTo>
                      <a:pt x="175927" y="0"/>
                    </a:lnTo>
                    <a:lnTo>
                      <a:pt x="234601" y="58674"/>
                    </a:lnTo>
                    <a:lnTo>
                      <a:pt x="58388" y="234887"/>
                    </a:lnTo>
                    <a:close/>
                  </a:path>
                </a:pathLst>
              </a:custGeom>
              <a:solidFill>
                <a:srgbClr val="37BD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ïṥlîḑè"/>
              <p:cNvSpPr/>
              <p:nvPr/>
            </p:nvSpPr>
            <p:spPr>
              <a:xfrm>
                <a:off x="1815482" y="6004484"/>
                <a:ext cx="234600" cy="234886"/>
              </a:xfrm>
              <a:custGeom>
                <a:avLst/>
                <a:gdLst>
                  <a:gd name="connsiteX0" fmla="*/ 234601 w 234600"/>
                  <a:gd name="connsiteY0" fmla="*/ 176022 h 234886"/>
                  <a:gd name="connsiteX1" fmla="*/ 58674 w 234600"/>
                  <a:gd name="connsiteY1" fmla="*/ 0 h 234886"/>
                  <a:gd name="connsiteX2" fmla="*/ 0 w 234600"/>
                  <a:gd name="connsiteY2" fmla="*/ 58674 h 234886"/>
                  <a:gd name="connsiteX3" fmla="*/ 176213 w 234600"/>
                  <a:gd name="connsiteY3" fmla="*/ 234887 h 23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600" h="234886">
                    <a:moveTo>
                      <a:pt x="234601" y="176022"/>
                    </a:moveTo>
                    <a:lnTo>
                      <a:pt x="58674" y="0"/>
                    </a:lnTo>
                    <a:lnTo>
                      <a:pt x="0" y="58674"/>
                    </a:lnTo>
                    <a:lnTo>
                      <a:pt x="176213" y="234887"/>
                    </a:lnTo>
                    <a:close/>
                  </a:path>
                </a:pathLst>
              </a:custGeom>
              <a:solidFill>
                <a:srgbClr val="37BD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íşlîḓé"/>
              <p:cNvSpPr/>
              <p:nvPr/>
            </p:nvSpPr>
            <p:spPr>
              <a:xfrm>
                <a:off x="1182260" y="6004484"/>
                <a:ext cx="175926" cy="176022"/>
              </a:xfrm>
              <a:custGeom>
                <a:avLst/>
                <a:gdLst>
                  <a:gd name="connsiteX0" fmla="*/ 0 w 175926"/>
                  <a:gd name="connsiteY0" fmla="*/ 176022 h 176022"/>
                  <a:gd name="connsiteX1" fmla="*/ 175927 w 175926"/>
                  <a:gd name="connsiteY1" fmla="*/ 0 h 17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926" h="176022">
                    <a:moveTo>
                      <a:pt x="0" y="176022"/>
                    </a:moveTo>
                    <a:lnTo>
                      <a:pt x="175927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ïS1íďè"/>
              <p:cNvSpPr/>
              <p:nvPr/>
            </p:nvSpPr>
            <p:spPr>
              <a:xfrm>
                <a:off x="1874156" y="6004484"/>
                <a:ext cx="175926" cy="176022"/>
              </a:xfrm>
              <a:custGeom>
                <a:avLst/>
                <a:gdLst>
                  <a:gd name="connsiteX0" fmla="*/ 0 w 175926"/>
                  <a:gd name="connsiteY0" fmla="*/ 0 h 176022"/>
                  <a:gd name="connsiteX1" fmla="*/ 175927 w 175926"/>
                  <a:gd name="connsiteY1" fmla="*/ 176022 h 17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926" h="176022">
                    <a:moveTo>
                      <a:pt x="0" y="0"/>
                    </a:moveTo>
                    <a:lnTo>
                      <a:pt x="175927" y="176022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4" name="图形 278"/>
              <p:cNvGrpSpPr/>
              <p:nvPr/>
            </p:nvGrpSpPr>
            <p:grpSpPr>
              <a:xfrm>
                <a:off x="1425338" y="3702386"/>
                <a:ext cx="504634" cy="136398"/>
                <a:chOff x="1425338" y="3702386"/>
                <a:chExt cx="504634" cy="136398"/>
              </a:xfrm>
              <a:noFill/>
            </p:grpSpPr>
            <p:sp>
              <p:nvSpPr>
                <p:cNvPr id="168" name="îş1ïḓê"/>
                <p:cNvSpPr/>
                <p:nvPr/>
              </p:nvSpPr>
              <p:spPr>
                <a:xfrm>
                  <a:off x="1481630" y="3702386"/>
                  <a:ext cx="213931" cy="136398"/>
                </a:xfrm>
                <a:custGeom>
                  <a:avLst/>
                  <a:gdLst>
                    <a:gd name="connsiteX0" fmla="*/ 68199 w 213931"/>
                    <a:gd name="connsiteY0" fmla="*/ 136398 h 136398"/>
                    <a:gd name="connsiteX1" fmla="*/ 145733 w 213931"/>
                    <a:gd name="connsiteY1" fmla="*/ 136398 h 136398"/>
                    <a:gd name="connsiteX2" fmla="*/ 213931 w 213931"/>
                    <a:gd name="connsiteY2" fmla="*/ 68199 h 136398"/>
                    <a:gd name="connsiteX3" fmla="*/ 213931 w 213931"/>
                    <a:gd name="connsiteY3" fmla="*/ 68199 h 136398"/>
                    <a:gd name="connsiteX4" fmla="*/ 145733 w 213931"/>
                    <a:gd name="connsiteY4" fmla="*/ 0 h 136398"/>
                    <a:gd name="connsiteX5" fmla="*/ 68199 w 213931"/>
                    <a:gd name="connsiteY5" fmla="*/ 0 h 136398"/>
                    <a:gd name="connsiteX6" fmla="*/ 0 w 213931"/>
                    <a:gd name="connsiteY6" fmla="*/ 68199 h 136398"/>
                    <a:gd name="connsiteX7" fmla="*/ 0 w 213931"/>
                    <a:gd name="connsiteY7" fmla="*/ 68199 h 136398"/>
                    <a:gd name="connsiteX8" fmla="*/ 68199 w 213931"/>
                    <a:gd name="connsiteY8" fmla="*/ 136398 h 136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3931" h="136398">
                      <a:moveTo>
                        <a:pt x="68199" y="136398"/>
                      </a:moveTo>
                      <a:lnTo>
                        <a:pt x="145733" y="136398"/>
                      </a:lnTo>
                      <a:cubicBezTo>
                        <a:pt x="183261" y="136398"/>
                        <a:pt x="213931" y="105728"/>
                        <a:pt x="213931" y="68199"/>
                      </a:cubicBezTo>
                      <a:lnTo>
                        <a:pt x="213931" y="68199"/>
                      </a:lnTo>
                      <a:cubicBezTo>
                        <a:pt x="213931" y="30671"/>
                        <a:pt x="183261" y="0"/>
                        <a:pt x="145733" y="0"/>
                      </a:cubicBezTo>
                      <a:lnTo>
                        <a:pt x="68199" y="0"/>
                      </a:lnTo>
                      <a:cubicBezTo>
                        <a:pt x="30671" y="0"/>
                        <a:pt x="0" y="30671"/>
                        <a:pt x="0" y="68199"/>
                      </a:cubicBezTo>
                      <a:lnTo>
                        <a:pt x="0" y="68199"/>
                      </a:lnTo>
                      <a:cubicBezTo>
                        <a:pt x="0" y="105728"/>
                        <a:pt x="30671" y="136398"/>
                        <a:pt x="68199" y="136398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9" name="îŝļiḓè"/>
                <p:cNvSpPr/>
                <p:nvPr/>
              </p:nvSpPr>
              <p:spPr>
                <a:xfrm>
                  <a:off x="1716040" y="3702386"/>
                  <a:ext cx="213931" cy="136398"/>
                </a:xfrm>
                <a:custGeom>
                  <a:avLst/>
                  <a:gdLst>
                    <a:gd name="connsiteX0" fmla="*/ 68199 w 213931"/>
                    <a:gd name="connsiteY0" fmla="*/ 136398 h 136398"/>
                    <a:gd name="connsiteX1" fmla="*/ 145733 w 213931"/>
                    <a:gd name="connsiteY1" fmla="*/ 136398 h 136398"/>
                    <a:gd name="connsiteX2" fmla="*/ 213932 w 213931"/>
                    <a:gd name="connsiteY2" fmla="*/ 68199 h 136398"/>
                    <a:gd name="connsiteX3" fmla="*/ 213932 w 213931"/>
                    <a:gd name="connsiteY3" fmla="*/ 68199 h 136398"/>
                    <a:gd name="connsiteX4" fmla="*/ 145733 w 213931"/>
                    <a:gd name="connsiteY4" fmla="*/ 0 h 136398"/>
                    <a:gd name="connsiteX5" fmla="*/ 68199 w 213931"/>
                    <a:gd name="connsiteY5" fmla="*/ 0 h 136398"/>
                    <a:gd name="connsiteX6" fmla="*/ 0 w 213931"/>
                    <a:gd name="connsiteY6" fmla="*/ 68199 h 136398"/>
                    <a:gd name="connsiteX7" fmla="*/ 0 w 213931"/>
                    <a:gd name="connsiteY7" fmla="*/ 68199 h 136398"/>
                    <a:gd name="connsiteX8" fmla="*/ 68199 w 213931"/>
                    <a:gd name="connsiteY8" fmla="*/ 136398 h 136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3931" h="136398">
                      <a:moveTo>
                        <a:pt x="68199" y="136398"/>
                      </a:moveTo>
                      <a:lnTo>
                        <a:pt x="145733" y="136398"/>
                      </a:lnTo>
                      <a:cubicBezTo>
                        <a:pt x="183261" y="136398"/>
                        <a:pt x="213932" y="105728"/>
                        <a:pt x="213932" y="68199"/>
                      </a:cubicBezTo>
                      <a:lnTo>
                        <a:pt x="213932" y="68199"/>
                      </a:lnTo>
                      <a:cubicBezTo>
                        <a:pt x="213932" y="30671"/>
                        <a:pt x="183261" y="0"/>
                        <a:pt x="145733" y="0"/>
                      </a:cubicBezTo>
                      <a:lnTo>
                        <a:pt x="68199" y="0"/>
                      </a:lnTo>
                      <a:cubicBezTo>
                        <a:pt x="30671" y="0"/>
                        <a:pt x="0" y="30671"/>
                        <a:pt x="0" y="68199"/>
                      </a:cubicBezTo>
                      <a:lnTo>
                        <a:pt x="0" y="68199"/>
                      </a:lnTo>
                      <a:cubicBezTo>
                        <a:pt x="0" y="105728"/>
                        <a:pt x="30671" y="136398"/>
                        <a:pt x="68199" y="136398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0" name="işḷiḍè"/>
                <p:cNvSpPr/>
                <p:nvPr/>
              </p:nvSpPr>
              <p:spPr>
                <a:xfrm>
                  <a:off x="1695562" y="3770586"/>
                  <a:ext cx="20478" cy="9525"/>
                </a:xfrm>
                <a:custGeom>
                  <a:avLst/>
                  <a:gdLst>
                    <a:gd name="connsiteX0" fmla="*/ 0 w 20478"/>
                    <a:gd name="connsiteY0" fmla="*/ 0 h 9525"/>
                    <a:gd name="connsiteX1" fmla="*/ 20479 w 2047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78" h="9525">
                      <a:moveTo>
                        <a:pt x="0" y="0"/>
                      </a:moveTo>
                      <a:lnTo>
                        <a:pt x="20479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71" name="íṩḷíḋe"/>
                <p:cNvSpPr/>
                <p:nvPr/>
              </p:nvSpPr>
              <p:spPr>
                <a:xfrm>
                  <a:off x="1425338" y="3741820"/>
                  <a:ext cx="61817" cy="2000"/>
                </a:xfrm>
                <a:custGeom>
                  <a:avLst/>
                  <a:gdLst>
                    <a:gd name="connsiteX0" fmla="*/ 0 w 61817"/>
                    <a:gd name="connsiteY0" fmla="*/ 0 h 2000"/>
                    <a:gd name="connsiteX1" fmla="*/ 61817 w 61817"/>
                    <a:gd name="connsiteY1" fmla="*/ 2000 h 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817" h="2000">
                      <a:moveTo>
                        <a:pt x="0" y="0"/>
                      </a:moveTo>
                      <a:lnTo>
                        <a:pt x="61817" y="200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65" name="图形 278"/>
              <p:cNvGrpSpPr/>
              <p:nvPr/>
            </p:nvGrpSpPr>
            <p:grpSpPr>
              <a:xfrm>
                <a:off x="1355329" y="3282858"/>
                <a:ext cx="644366" cy="334089"/>
                <a:chOff x="1355329" y="3282858"/>
                <a:chExt cx="644366" cy="334089"/>
              </a:xfrm>
              <a:solidFill>
                <a:schemeClr val="accent1"/>
              </a:solidFill>
            </p:grpSpPr>
            <p:sp>
              <p:nvSpPr>
                <p:cNvPr id="166" name="îsļîḓê"/>
                <p:cNvSpPr/>
                <p:nvPr/>
              </p:nvSpPr>
              <p:spPr>
                <a:xfrm>
                  <a:off x="1355329" y="3282858"/>
                  <a:ext cx="644366" cy="334089"/>
                </a:xfrm>
                <a:custGeom>
                  <a:avLst/>
                  <a:gdLst>
                    <a:gd name="connsiteX0" fmla="*/ 542354 w 644366"/>
                    <a:gd name="connsiteY0" fmla="*/ 334089 h 334089"/>
                    <a:gd name="connsiteX1" fmla="*/ 102013 w 644366"/>
                    <a:gd name="connsiteY1" fmla="*/ 334089 h 334089"/>
                    <a:gd name="connsiteX2" fmla="*/ 0 w 644366"/>
                    <a:gd name="connsiteY2" fmla="*/ 51006 h 334089"/>
                    <a:gd name="connsiteX3" fmla="*/ 644366 w 644366"/>
                    <a:gd name="connsiteY3" fmla="*/ 51006 h 334089"/>
                    <a:gd name="connsiteX4" fmla="*/ 542354 w 644366"/>
                    <a:gd name="connsiteY4" fmla="*/ 334089 h 33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4366" h="334089">
                      <a:moveTo>
                        <a:pt x="542354" y="334089"/>
                      </a:moveTo>
                      <a:cubicBezTo>
                        <a:pt x="399002" y="289512"/>
                        <a:pt x="245459" y="289512"/>
                        <a:pt x="102013" y="334089"/>
                      </a:cubicBezTo>
                      <a:cubicBezTo>
                        <a:pt x="69247" y="239316"/>
                        <a:pt x="35243" y="144923"/>
                        <a:pt x="0" y="51006"/>
                      </a:cubicBezTo>
                      <a:cubicBezTo>
                        <a:pt x="209455" y="-17002"/>
                        <a:pt x="435007" y="-17002"/>
                        <a:pt x="644366" y="51006"/>
                      </a:cubicBezTo>
                      <a:cubicBezTo>
                        <a:pt x="609219" y="144923"/>
                        <a:pt x="575120" y="239316"/>
                        <a:pt x="542354" y="334089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67" name="íṡḷiḍe"/>
                <p:cNvSpPr/>
                <p:nvPr/>
              </p:nvSpPr>
              <p:spPr>
                <a:xfrm>
                  <a:off x="1584595" y="3343675"/>
                  <a:ext cx="185928" cy="185832"/>
                </a:xfrm>
                <a:custGeom>
                  <a:avLst/>
                  <a:gdLst>
                    <a:gd name="connsiteX0" fmla="*/ 185928 w 185928"/>
                    <a:gd name="connsiteY0" fmla="*/ 57150 h 185832"/>
                    <a:gd name="connsiteX1" fmla="*/ 128683 w 185928"/>
                    <a:gd name="connsiteY1" fmla="*/ 57150 h 185832"/>
                    <a:gd name="connsiteX2" fmla="*/ 128683 w 185928"/>
                    <a:gd name="connsiteY2" fmla="*/ 0 h 185832"/>
                    <a:gd name="connsiteX3" fmla="*/ 57245 w 185928"/>
                    <a:gd name="connsiteY3" fmla="*/ 0 h 185832"/>
                    <a:gd name="connsiteX4" fmla="*/ 57245 w 185928"/>
                    <a:gd name="connsiteY4" fmla="*/ 57150 h 185832"/>
                    <a:gd name="connsiteX5" fmla="*/ 0 w 185928"/>
                    <a:gd name="connsiteY5" fmla="*/ 57150 h 185832"/>
                    <a:gd name="connsiteX6" fmla="*/ 0 w 185928"/>
                    <a:gd name="connsiteY6" fmla="*/ 128683 h 185832"/>
                    <a:gd name="connsiteX7" fmla="*/ 57245 w 185928"/>
                    <a:gd name="connsiteY7" fmla="*/ 128683 h 185832"/>
                    <a:gd name="connsiteX8" fmla="*/ 57245 w 185928"/>
                    <a:gd name="connsiteY8" fmla="*/ 185833 h 185832"/>
                    <a:gd name="connsiteX9" fmla="*/ 128683 w 185928"/>
                    <a:gd name="connsiteY9" fmla="*/ 185833 h 185832"/>
                    <a:gd name="connsiteX10" fmla="*/ 128683 w 185928"/>
                    <a:gd name="connsiteY10" fmla="*/ 128683 h 185832"/>
                    <a:gd name="connsiteX11" fmla="*/ 185928 w 185928"/>
                    <a:gd name="connsiteY11" fmla="*/ 128683 h 185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85928" h="185832">
                      <a:moveTo>
                        <a:pt x="185928" y="57150"/>
                      </a:moveTo>
                      <a:lnTo>
                        <a:pt x="128683" y="57150"/>
                      </a:lnTo>
                      <a:lnTo>
                        <a:pt x="128683" y="0"/>
                      </a:lnTo>
                      <a:lnTo>
                        <a:pt x="57245" y="0"/>
                      </a:lnTo>
                      <a:lnTo>
                        <a:pt x="57245" y="57150"/>
                      </a:lnTo>
                      <a:lnTo>
                        <a:pt x="0" y="57150"/>
                      </a:lnTo>
                      <a:lnTo>
                        <a:pt x="0" y="128683"/>
                      </a:lnTo>
                      <a:lnTo>
                        <a:pt x="57245" y="128683"/>
                      </a:lnTo>
                      <a:lnTo>
                        <a:pt x="57245" y="185833"/>
                      </a:lnTo>
                      <a:lnTo>
                        <a:pt x="128683" y="185833"/>
                      </a:lnTo>
                      <a:lnTo>
                        <a:pt x="128683" y="128683"/>
                      </a:lnTo>
                      <a:lnTo>
                        <a:pt x="185928" y="128683"/>
                      </a:lnTo>
                      <a:close/>
                    </a:path>
                  </a:pathLst>
                </a:custGeom>
                <a:solidFill>
                  <a:srgbClr val="56C7A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96" name="图形 278"/>
            <p:cNvGrpSpPr/>
            <p:nvPr userDrawn="1"/>
          </p:nvGrpSpPr>
          <p:grpSpPr>
            <a:xfrm>
              <a:off x="6905747" y="462258"/>
              <a:ext cx="2255652" cy="5675017"/>
              <a:chOff x="5969009" y="3056205"/>
              <a:chExt cx="1624156" cy="4086230"/>
            </a:xfrm>
            <a:solidFill>
              <a:schemeClr val="accent1"/>
            </a:solidFill>
          </p:grpSpPr>
          <p:sp>
            <p:nvSpPr>
              <p:cNvPr id="197" name="îSḷíďê"/>
              <p:cNvSpPr/>
              <p:nvPr/>
            </p:nvSpPr>
            <p:spPr>
              <a:xfrm>
                <a:off x="6149357" y="5977623"/>
                <a:ext cx="1244250" cy="1164621"/>
              </a:xfrm>
              <a:custGeom>
                <a:avLst/>
                <a:gdLst>
                  <a:gd name="connsiteX0" fmla="*/ 0 w 1244250"/>
                  <a:gd name="connsiteY0" fmla="*/ 1164622 h 1164621"/>
                  <a:gd name="connsiteX1" fmla="*/ 1244251 w 1244250"/>
                  <a:gd name="connsiteY1" fmla="*/ 1158716 h 1164621"/>
                  <a:gd name="connsiteX2" fmla="*/ 1238822 w 1244250"/>
                  <a:gd name="connsiteY2" fmla="*/ 0 h 1164621"/>
                  <a:gd name="connsiteX3" fmla="*/ 135921 w 1244250"/>
                  <a:gd name="connsiteY3" fmla="*/ 5239 h 1164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250" h="1164621">
                    <a:moveTo>
                      <a:pt x="0" y="1164622"/>
                    </a:moveTo>
                    <a:lnTo>
                      <a:pt x="1244251" y="1158716"/>
                    </a:lnTo>
                    <a:lnTo>
                      <a:pt x="1238822" y="0"/>
                    </a:lnTo>
                    <a:lnTo>
                      <a:pt x="135921" y="5239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8" name="ïs1ïḑê"/>
              <p:cNvSpPr/>
              <p:nvPr/>
            </p:nvSpPr>
            <p:spPr>
              <a:xfrm>
                <a:off x="6295374" y="3889545"/>
                <a:ext cx="961632" cy="1880528"/>
              </a:xfrm>
              <a:custGeom>
                <a:avLst/>
                <a:gdLst>
                  <a:gd name="connsiteX0" fmla="*/ 957263 w 961632"/>
                  <a:gd name="connsiteY0" fmla="*/ 1876052 h 1880528"/>
                  <a:gd name="connsiteX1" fmla="*/ 935355 w 961632"/>
                  <a:gd name="connsiteY1" fmla="*/ 883737 h 1880528"/>
                  <a:gd name="connsiteX2" fmla="*/ 510159 w 961632"/>
                  <a:gd name="connsiteY2" fmla="*/ 7 h 1880528"/>
                  <a:gd name="connsiteX3" fmla="*/ 39338 w 961632"/>
                  <a:gd name="connsiteY3" fmla="*/ 532550 h 1880528"/>
                  <a:gd name="connsiteX4" fmla="*/ 0 w 961632"/>
                  <a:gd name="connsiteY4" fmla="*/ 1880528 h 1880528"/>
                  <a:gd name="connsiteX5" fmla="*/ 957263 w 961632"/>
                  <a:gd name="connsiteY5" fmla="*/ 1876052 h 1880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1632" h="1880528">
                    <a:moveTo>
                      <a:pt x="957263" y="1876052"/>
                    </a:moveTo>
                    <a:lnTo>
                      <a:pt x="935355" y="883737"/>
                    </a:lnTo>
                    <a:cubicBezTo>
                      <a:pt x="935355" y="883737"/>
                      <a:pt x="1120045" y="-2945"/>
                      <a:pt x="510159" y="7"/>
                    </a:cubicBezTo>
                    <a:cubicBezTo>
                      <a:pt x="204311" y="1436"/>
                      <a:pt x="24384" y="151836"/>
                      <a:pt x="39338" y="532550"/>
                    </a:cubicBezTo>
                    <a:cubicBezTo>
                      <a:pt x="56102" y="960127"/>
                      <a:pt x="0" y="1880528"/>
                      <a:pt x="0" y="1880528"/>
                    </a:cubicBezTo>
                    <a:lnTo>
                      <a:pt x="957263" y="1876052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9" name="ïŝḷîdè"/>
              <p:cNvSpPr/>
              <p:nvPr/>
            </p:nvSpPr>
            <p:spPr>
              <a:xfrm>
                <a:off x="5969009" y="3917842"/>
                <a:ext cx="610211" cy="2025205"/>
              </a:xfrm>
              <a:custGeom>
                <a:avLst/>
                <a:gdLst>
                  <a:gd name="connsiteX0" fmla="*/ 607353 w 610211"/>
                  <a:gd name="connsiteY0" fmla="*/ 0 h 2025205"/>
                  <a:gd name="connsiteX1" fmla="*/ 40 w 610211"/>
                  <a:gd name="connsiteY1" fmla="*/ 1294733 h 2025205"/>
                  <a:gd name="connsiteX2" fmla="*/ 371038 w 610211"/>
                  <a:gd name="connsiteY2" fmla="*/ 2025205 h 2025205"/>
                  <a:gd name="connsiteX3" fmla="*/ 515056 w 610211"/>
                  <a:gd name="connsiteY3" fmla="*/ 1879854 h 2025205"/>
                  <a:gd name="connsiteX4" fmla="*/ 610211 w 610211"/>
                  <a:gd name="connsiteY4" fmla="*/ 596456 h 2025205"/>
                  <a:gd name="connsiteX5" fmla="*/ 607353 w 610211"/>
                  <a:gd name="connsiteY5" fmla="*/ 0 h 2025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0211" h="2025205">
                    <a:moveTo>
                      <a:pt x="607353" y="0"/>
                    </a:moveTo>
                    <a:cubicBezTo>
                      <a:pt x="607353" y="0"/>
                      <a:pt x="-5676" y="83248"/>
                      <a:pt x="40" y="1294733"/>
                    </a:cubicBezTo>
                    <a:cubicBezTo>
                      <a:pt x="2230" y="1754886"/>
                      <a:pt x="371038" y="2025205"/>
                      <a:pt x="371038" y="2025205"/>
                    </a:cubicBezTo>
                    <a:lnTo>
                      <a:pt x="515056" y="1879854"/>
                    </a:lnTo>
                    <a:cubicBezTo>
                      <a:pt x="515056" y="1879854"/>
                      <a:pt x="-74446" y="1287590"/>
                      <a:pt x="610211" y="596456"/>
                    </a:cubicBezTo>
                    <a:lnTo>
                      <a:pt x="607353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0" name="îśḷïḋé"/>
              <p:cNvSpPr/>
              <p:nvPr/>
            </p:nvSpPr>
            <p:spPr>
              <a:xfrm>
                <a:off x="6973650" y="3916032"/>
                <a:ext cx="619515" cy="2022919"/>
              </a:xfrm>
              <a:custGeom>
                <a:avLst/>
                <a:gdLst>
                  <a:gd name="connsiteX0" fmla="*/ 0 w 619515"/>
                  <a:gd name="connsiteY0" fmla="*/ 0 h 2022919"/>
                  <a:gd name="connsiteX1" fmla="*/ 619506 w 619515"/>
                  <a:gd name="connsiteY1" fmla="*/ 1288923 h 2022919"/>
                  <a:gd name="connsiteX2" fmla="*/ 255461 w 619515"/>
                  <a:gd name="connsiteY2" fmla="*/ 2022920 h 2022919"/>
                  <a:gd name="connsiteX3" fmla="*/ 110109 w 619515"/>
                  <a:gd name="connsiteY3" fmla="*/ 1878902 h 2022919"/>
                  <a:gd name="connsiteX4" fmla="*/ 2857 w 619515"/>
                  <a:gd name="connsiteY4" fmla="*/ 596456 h 2022919"/>
                  <a:gd name="connsiteX5" fmla="*/ 0 w 619515"/>
                  <a:gd name="connsiteY5" fmla="*/ 0 h 2022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9515" h="2022919">
                    <a:moveTo>
                      <a:pt x="0" y="0"/>
                    </a:moveTo>
                    <a:cubicBezTo>
                      <a:pt x="0" y="0"/>
                      <a:pt x="613791" y="77438"/>
                      <a:pt x="619506" y="1288923"/>
                    </a:cubicBezTo>
                    <a:cubicBezTo>
                      <a:pt x="621697" y="1749076"/>
                      <a:pt x="255461" y="2022920"/>
                      <a:pt x="255461" y="2022920"/>
                    </a:cubicBezTo>
                    <a:lnTo>
                      <a:pt x="110109" y="1878902"/>
                    </a:lnTo>
                    <a:cubicBezTo>
                      <a:pt x="110109" y="1878902"/>
                      <a:pt x="693896" y="1281017"/>
                      <a:pt x="2857" y="5964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01" name="图形 278"/>
              <p:cNvGrpSpPr/>
              <p:nvPr/>
            </p:nvGrpSpPr>
            <p:grpSpPr>
              <a:xfrm>
                <a:off x="6560928" y="3892696"/>
                <a:ext cx="444443" cy="868046"/>
                <a:chOff x="6560928" y="3892696"/>
                <a:chExt cx="444443" cy="868046"/>
              </a:xfrm>
              <a:solidFill>
                <a:schemeClr val="accent1"/>
              </a:solidFill>
            </p:grpSpPr>
            <p:sp>
              <p:nvSpPr>
                <p:cNvPr id="237" name="işḻïḓè"/>
                <p:cNvSpPr/>
                <p:nvPr/>
              </p:nvSpPr>
              <p:spPr>
                <a:xfrm>
                  <a:off x="6560928" y="3892696"/>
                  <a:ext cx="444443" cy="699135"/>
                </a:xfrm>
                <a:custGeom>
                  <a:avLst/>
                  <a:gdLst>
                    <a:gd name="connsiteX0" fmla="*/ 220031 w 444443"/>
                    <a:gd name="connsiteY0" fmla="*/ 0 h 699135"/>
                    <a:gd name="connsiteX1" fmla="*/ 220031 w 444443"/>
                    <a:gd name="connsiteY1" fmla="*/ 0 h 699135"/>
                    <a:gd name="connsiteX2" fmla="*/ 3 w 444443"/>
                    <a:gd name="connsiteY2" fmla="*/ 202597 h 699135"/>
                    <a:gd name="connsiteX3" fmla="*/ 225746 w 444443"/>
                    <a:gd name="connsiteY3" fmla="*/ 699135 h 699135"/>
                    <a:gd name="connsiteX4" fmla="*/ 444440 w 444443"/>
                    <a:gd name="connsiteY4" fmla="*/ 200501 h 699135"/>
                    <a:gd name="connsiteX5" fmla="*/ 220031 w 444443"/>
                    <a:gd name="connsiteY5" fmla="*/ 0 h 699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443" h="699135">
                      <a:moveTo>
                        <a:pt x="220031" y="0"/>
                      </a:moveTo>
                      <a:lnTo>
                        <a:pt x="220031" y="0"/>
                      </a:lnTo>
                      <a:cubicBezTo>
                        <a:pt x="196790" y="1143"/>
                        <a:pt x="-949" y="15431"/>
                        <a:pt x="3" y="202597"/>
                      </a:cubicBezTo>
                      <a:cubicBezTo>
                        <a:pt x="861" y="389477"/>
                        <a:pt x="201934" y="671894"/>
                        <a:pt x="225746" y="699135"/>
                      </a:cubicBezTo>
                      <a:cubicBezTo>
                        <a:pt x="249273" y="671703"/>
                        <a:pt x="445297" y="387477"/>
                        <a:pt x="444440" y="200501"/>
                      </a:cubicBezTo>
                      <a:cubicBezTo>
                        <a:pt x="443487" y="13335"/>
                        <a:pt x="243368" y="857"/>
                        <a:pt x="220031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8" name="îşļîḍè"/>
                <p:cNvSpPr/>
                <p:nvPr/>
              </p:nvSpPr>
              <p:spPr>
                <a:xfrm rot="-16317">
                  <a:off x="6662347" y="4612137"/>
                  <a:ext cx="247367" cy="148020"/>
                </a:xfrm>
                <a:custGeom>
                  <a:avLst/>
                  <a:gdLst>
                    <a:gd name="connsiteX0" fmla="*/ 0 w 247367"/>
                    <a:gd name="connsiteY0" fmla="*/ 0 h 148020"/>
                    <a:gd name="connsiteX1" fmla="*/ 247367 w 247367"/>
                    <a:gd name="connsiteY1" fmla="*/ 0 h 148020"/>
                    <a:gd name="connsiteX2" fmla="*/ 247367 w 247367"/>
                    <a:gd name="connsiteY2" fmla="*/ 148020 h 148020"/>
                    <a:gd name="connsiteX3" fmla="*/ 0 w 247367"/>
                    <a:gd name="connsiteY3" fmla="*/ 148020 h 14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7" h="148020">
                      <a:moveTo>
                        <a:pt x="0" y="0"/>
                      </a:moveTo>
                      <a:lnTo>
                        <a:pt x="247367" y="0"/>
                      </a:lnTo>
                      <a:lnTo>
                        <a:pt x="247367" y="148020"/>
                      </a:lnTo>
                      <a:lnTo>
                        <a:pt x="0" y="1480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9" name="îSļïḍe"/>
                <p:cNvSpPr/>
                <p:nvPr/>
              </p:nvSpPr>
              <p:spPr>
                <a:xfrm>
                  <a:off x="6786674" y="4591831"/>
                  <a:ext cx="190" cy="40481"/>
                </a:xfrm>
                <a:custGeom>
                  <a:avLst/>
                  <a:gdLst>
                    <a:gd name="connsiteX0" fmla="*/ 0 w 190"/>
                    <a:gd name="connsiteY0" fmla="*/ 0 h 40481"/>
                    <a:gd name="connsiteX1" fmla="*/ 191 w 190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0" h="40481">
                      <a:moveTo>
                        <a:pt x="0" y="0"/>
                      </a:moveTo>
                      <a:lnTo>
                        <a:pt x="191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0" name="iṧļïďe"/>
                <p:cNvSpPr/>
                <p:nvPr/>
              </p:nvSpPr>
              <p:spPr>
                <a:xfrm rot="-16317">
                  <a:off x="6689780" y="4651570"/>
                  <a:ext cx="56198" cy="56198"/>
                </a:xfrm>
                <a:custGeom>
                  <a:avLst/>
                  <a:gdLst>
                    <a:gd name="connsiteX0" fmla="*/ 0 w 56198"/>
                    <a:gd name="connsiteY0" fmla="*/ 0 h 56198"/>
                    <a:gd name="connsiteX1" fmla="*/ 56198 w 56198"/>
                    <a:gd name="connsiteY1" fmla="*/ 0 h 56198"/>
                    <a:gd name="connsiteX2" fmla="*/ 56198 w 56198"/>
                    <a:gd name="connsiteY2" fmla="*/ 56198 h 56198"/>
                    <a:gd name="connsiteX3" fmla="*/ 0 w 56198"/>
                    <a:gd name="connsiteY3" fmla="*/ 56198 h 56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8" h="56198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56198"/>
                      </a:lnTo>
                      <a:lnTo>
                        <a:pt x="0" y="56198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1" name="iṧľíḑe"/>
                <p:cNvSpPr/>
                <p:nvPr/>
              </p:nvSpPr>
              <p:spPr>
                <a:xfrm rot="-16317">
                  <a:off x="6774362" y="4650999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2" name="íŝḷidê"/>
                <p:cNvSpPr/>
                <p:nvPr/>
              </p:nvSpPr>
              <p:spPr>
                <a:xfrm rot="-16317">
                  <a:off x="6774458" y="4674527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3" name="iSľîḋé"/>
                <p:cNvSpPr/>
                <p:nvPr/>
              </p:nvSpPr>
              <p:spPr>
                <a:xfrm rot="-16317">
                  <a:off x="6774553" y="4698053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4" name="iślídê"/>
                <p:cNvSpPr/>
                <p:nvPr/>
              </p:nvSpPr>
              <p:spPr>
                <a:xfrm rot="-16317">
                  <a:off x="6774743" y="4721485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6 w 116396"/>
                    <a:gd name="connsiteY1" fmla="*/ 0 h 9144"/>
                    <a:gd name="connsiteX2" fmla="*/ 116396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6" y="0"/>
                      </a:lnTo>
                      <a:lnTo>
                        <a:pt x="116396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5" name="ïŝḷîďè"/>
                <p:cNvSpPr/>
                <p:nvPr/>
              </p:nvSpPr>
              <p:spPr>
                <a:xfrm rot="-16317">
                  <a:off x="6689969" y="4722056"/>
                  <a:ext cx="56198" cy="9144"/>
                </a:xfrm>
                <a:custGeom>
                  <a:avLst/>
                  <a:gdLst>
                    <a:gd name="connsiteX0" fmla="*/ 0 w 56198"/>
                    <a:gd name="connsiteY0" fmla="*/ 0 h 9144"/>
                    <a:gd name="connsiteX1" fmla="*/ 56199 w 56198"/>
                    <a:gd name="connsiteY1" fmla="*/ 0 h 9144"/>
                    <a:gd name="connsiteX2" fmla="*/ 56199 w 56198"/>
                    <a:gd name="connsiteY2" fmla="*/ 9144 h 9144"/>
                    <a:gd name="connsiteX3" fmla="*/ 0 w 56198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8" h="9144">
                      <a:moveTo>
                        <a:pt x="0" y="0"/>
                      </a:moveTo>
                      <a:lnTo>
                        <a:pt x="56199" y="0"/>
                      </a:lnTo>
                      <a:lnTo>
                        <a:pt x="56199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02" name="iṡ1ïḓê"/>
              <p:cNvSpPr/>
              <p:nvPr/>
            </p:nvSpPr>
            <p:spPr>
              <a:xfrm>
                <a:off x="6105446" y="3912603"/>
                <a:ext cx="512350" cy="3229832"/>
              </a:xfrm>
              <a:custGeom>
                <a:avLst/>
                <a:gdLst>
                  <a:gd name="connsiteX0" fmla="*/ 497110 w 512350"/>
                  <a:gd name="connsiteY0" fmla="*/ 0 h 3229832"/>
                  <a:gd name="connsiteX1" fmla="*/ 512350 w 512350"/>
                  <a:gd name="connsiteY1" fmla="*/ 3227451 h 3229832"/>
                  <a:gd name="connsiteX2" fmla="*/ 0 w 512350"/>
                  <a:gd name="connsiteY2" fmla="*/ 3229832 h 3229832"/>
                  <a:gd name="connsiteX3" fmla="*/ 242602 w 512350"/>
                  <a:gd name="connsiteY3" fmla="*/ 352996 h 3229832"/>
                  <a:gd name="connsiteX4" fmla="*/ 470916 w 512350"/>
                  <a:gd name="connsiteY4" fmla="*/ 5239 h 322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350" h="3229832">
                    <a:moveTo>
                      <a:pt x="497110" y="0"/>
                    </a:moveTo>
                    <a:lnTo>
                      <a:pt x="512350" y="3227451"/>
                    </a:lnTo>
                    <a:lnTo>
                      <a:pt x="0" y="3229832"/>
                    </a:lnTo>
                    <a:lnTo>
                      <a:pt x="242602" y="352996"/>
                    </a:lnTo>
                    <a:lnTo>
                      <a:pt x="470916" y="5239"/>
                    </a:lnTo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3" name="i$ľídé"/>
              <p:cNvSpPr/>
              <p:nvPr/>
            </p:nvSpPr>
            <p:spPr>
              <a:xfrm>
                <a:off x="6947837" y="3916032"/>
                <a:ext cx="615696" cy="3222402"/>
              </a:xfrm>
              <a:custGeom>
                <a:avLst/>
                <a:gdLst>
                  <a:gd name="connsiteX0" fmla="*/ 25813 w 615696"/>
                  <a:gd name="connsiteY0" fmla="*/ 0 h 3222402"/>
                  <a:gd name="connsiteX1" fmla="*/ 0 w 615696"/>
                  <a:gd name="connsiteY1" fmla="*/ 3222403 h 3222402"/>
                  <a:gd name="connsiteX2" fmla="*/ 615696 w 615696"/>
                  <a:gd name="connsiteY2" fmla="*/ 3219545 h 3222402"/>
                  <a:gd name="connsiteX3" fmla="*/ 345853 w 615696"/>
                  <a:gd name="connsiteY3" fmla="*/ 345091 h 3222402"/>
                  <a:gd name="connsiteX4" fmla="*/ 25813 w 615696"/>
                  <a:gd name="connsiteY4" fmla="*/ 0 h 322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96" h="3222402">
                    <a:moveTo>
                      <a:pt x="25813" y="0"/>
                    </a:moveTo>
                    <a:lnTo>
                      <a:pt x="0" y="3222403"/>
                    </a:lnTo>
                    <a:lnTo>
                      <a:pt x="615696" y="3219545"/>
                    </a:lnTo>
                    <a:lnTo>
                      <a:pt x="345853" y="345091"/>
                    </a:lnTo>
                    <a:lnTo>
                      <a:pt x="25813" y="0"/>
                    </a:lnTo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4" name="îṣḻîḓè"/>
              <p:cNvSpPr/>
              <p:nvPr/>
            </p:nvSpPr>
            <p:spPr>
              <a:xfrm>
                <a:off x="6509687" y="3872789"/>
                <a:ext cx="134016" cy="1725549"/>
              </a:xfrm>
              <a:custGeom>
                <a:avLst/>
                <a:gdLst>
                  <a:gd name="connsiteX0" fmla="*/ 100870 w 134016"/>
                  <a:gd name="connsiteY0" fmla="*/ 1725549 h 1725549"/>
                  <a:gd name="connsiteX1" fmla="*/ 0 w 134016"/>
                  <a:gd name="connsiteY1" fmla="*/ 64579 h 1725549"/>
                  <a:gd name="connsiteX2" fmla="*/ 134017 w 134016"/>
                  <a:gd name="connsiteY2" fmla="*/ 0 h 1725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16" h="1725549">
                    <a:moveTo>
                      <a:pt x="100870" y="1725549"/>
                    </a:moveTo>
                    <a:lnTo>
                      <a:pt x="0" y="64579"/>
                    </a:lnTo>
                    <a:lnTo>
                      <a:pt x="134017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5" name="îśļïḑé"/>
              <p:cNvSpPr/>
              <p:nvPr/>
            </p:nvSpPr>
            <p:spPr>
              <a:xfrm>
                <a:off x="7084036" y="4816526"/>
                <a:ext cx="227024" cy="248127"/>
              </a:xfrm>
              <a:custGeom>
                <a:avLst/>
                <a:gdLst>
                  <a:gd name="connsiteX0" fmla="*/ 9 w 227024"/>
                  <a:gd name="connsiteY0" fmla="*/ 1048 h 248127"/>
                  <a:gd name="connsiteX1" fmla="*/ 226799 w 227024"/>
                  <a:gd name="connsiteY1" fmla="*/ 0 h 248127"/>
                  <a:gd name="connsiteX2" fmla="*/ 116976 w 227024"/>
                  <a:gd name="connsiteY2" fmla="*/ 248126 h 248127"/>
                  <a:gd name="connsiteX3" fmla="*/ 9 w 227024"/>
                  <a:gd name="connsiteY3" fmla="*/ 1048 h 248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024" h="248127">
                    <a:moveTo>
                      <a:pt x="9" y="1048"/>
                    </a:moveTo>
                    <a:lnTo>
                      <a:pt x="226799" y="0"/>
                    </a:lnTo>
                    <a:cubicBezTo>
                      <a:pt x="226799" y="0"/>
                      <a:pt x="237181" y="247555"/>
                      <a:pt x="116976" y="248126"/>
                    </a:cubicBezTo>
                    <a:cubicBezTo>
                      <a:pt x="-3325" y="248698"/>
                      <a:pt x="9" y="1048"/>
                      <a:pt x="9" y="1048"/>
                    </a:cubicBez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6" name="îṣḷíḍê"/>
              <p:cNvSpPr/>
              <p:nvPr/>
            </p:nvSpPr>
            <p:spPr>
              <a:xfrm>
                <a:off x="6925740" y="3859168"/>
                <a:ext cx="140779" cy="1727454"/>
              </a:xfrm>
              <a:custGeom>
                <a:avLst/>
                <a:gdLst>
                  <a:gd name="connsiteX0" fmla="*/ 34575 w 140779"/>
                  <a:gd name="connsiteY0" fmla="*/ 1727454 h 1727454"/>
                  <a:gd name="connsiteX1" fmla="*/ 140779 w 140779"/>
                  <a:gd name="connsiteY1" fmla="*/ 85439 h 1727454"/>
                  <a:gd name="connsiteX2" fmla="*/ 0 w 140779"/>
                  <a:gd name="connsiteY2" fmla="*/ 0 h 1727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779" h="1727454">
                    <a:moveTo>
                      <a:pt x="34575" y="1727454"/>
                    </a:moveTo>
                    <a:lnTo>
                      <a:pt x="140779" y="854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07" name="图形 278"/>
              <p:cNvGrpSpPr/>
              <p:nvPr/>
            </p:nvGrpSpPr>
            <p:grpSpPr>
              <a:xfrm>
                <a:off x="6341761" y="3840019"/>
                <a:ext cx="807911" cy="739620"/>
                <a:chOff x="6341761" y="3840019"/>
                <a:chExt cx="807911" cy="739620"/>
              </a:xfrm>
              <a:solidFill>
                <a:schemeClr val="accent1"/>
              </a:solidFill>
            </p:grpSpPr>
            <p:sp>
              <p:nvSpPr>
                <p:cNvPr id="231" name="íšḻíḓê"/>
                <p:cNvSpPr/>
                <p:nvPr/>
              </p:nvSpPr>
              <p:spPr>
                <a:xfrm>
                  <a:off x="6362145" y="4110363"/>
                  <a:ext cx="180428" cy="449022"/>
                </a:xfrm>
                <a:custGeom>
                  <a:avLst/>
                  <a:gdLst>
                    <a:gd name="connsiteX0" fmla="*/ 172879 w 180428"/>
                    <a:gd name="connsiteY0" fmla="*/ 447750 h 449022"/>
                    <a:gd name="connsiteX1" fmla="*/ 79439 w 180428"/>
                    <a:gd name="connsiteY1" fmla="*/ 137425 h 449022"/>
                    <a:gd name="connsiteX2" fmla="*/ 148590 w 180428"/>
                    <a:gd name="connsiteY2" fmla="*/ 741 h 449022"/>
                    <a:gd name="connsiteX3" fmla="*/ 171545 w 180428"/>
                    <a:gd name="connsiteY3" fmla="*/ 154475 h 449022"/>
                    <a:gd name="connsiteX4" fmla="*/ 0 w 180428"/>
                    <a:gd name="connsiteY4" fmla="*/ 429462 h 449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428" h="449022">
                      <a:moveTo>
                        <a:pt x="172879" y="447750"/>
                      </a:moveTo>
                      <a:cubicBezTo>
                        <a:pt x="172879" y="447750"/>
                        <a:pt x="46197" y="486421"/>
                        <a:pt x="79439" y="137425"/>
                      </a:cubicBezTo>
                      <a:cubicBezTo>
                        <a:pt x="79439" y="137425"/>
                        <a:pt x="94583" y="-11736"/>
                        <a:pt x="148590" y="741"/>
                      </a:cubicBezTo>
                      <a:cubicBezTo>
                        <a:pt x="202597" y="13124"/>
                        <a:pt x="171545" y="154475"/>
                        <a:pt x="171545" y="154475"/>
                      </a:cubicBezTo>
                      <a:cubicBezTo>
                        <a:pt x="112014" y="499947"/>
                        <a:pt x="0" y="429462"/>
                        <a:pt x="0" y="429462"/>
                      </a:cubicBezTo>
                    </a:path>
                  </a:pathLst>
                </a:custGeom>
                <a:noFill/>
                <a:ln w="14779" cap="flat">
                  <a:solidFill>
                    <a:srgbClr val="E95F5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2" name="ïslíḓê"/>
                <p:cNvSpPr/>
                <p:nvPr/>
              </p:nvSpPr>
              <p:spPr>
                <a:xfrm>
                  <a:off x="6510474" y="3840019"/>
                  <a:ext cx="588239" cy="550453"/>
                </a:xfrm>
                <a:custGeom>
                  <a:avLst/>
                  <a:gdLst>
                    <a:gd name="connsiteX0" fmla="*/ 261 w 588239"/>
                    <a:gd name="connsiteY0" fmla="*/ 270990 h 550453"/>
                    <a:gd name="connsiteX1" fmla="*/ 297060 w 588239"/>
                    <a:gd name="connsiteY1" fmla="*/ 4 h 550453"/>
                    <a:gd name="connsiteX2" fmla="*/ 588239 w 588239"/>
                    <a:gd name="connsiteY2" fmla="*/ 550454 h 550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8239" h="550453">
                      <a:moveTo>
                        <a:pt x="261" y="270990"/>
                      </a:moveTo>
                      <a:cubicBezTo>
                        <a:pt x="261" y="270990"/>
                        <a:pt x="-20027" y="1528"/>
                        <a:pt x="297060" y="4"/>
                      </a:cubicBezTo>
                      <a:cubicBezTo>
                        <a:pt x="614147" y="-1520"/>
                        <a:pt x="508324" y="414437"/>
                        <a:pt x="588239" y="550454"/>
                      </a:cubicBezTo>
                    </a:path>
                  </a:pathLst>
                </a:custGeom>
                <a:noFill/>
                <a:ln w="14779" cap="flat">
                  <a:solidFill>
                    <a:srgbClr val="E95F5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3" name="íš1îďè"/>
                <p:cNvSpPr/>
                <p:nvPr/>
              </p:nvSpPr>
              <p:spPr>
                <a:xfrm>
                  <a:off x="6341761" y="4519346"/>
                  <a:ext cx="40767" cy="40766"/>
                </a:xfrm>
                <a:custGeom>
                  <a:avLst/>
                  <a:gdLst>
                    <a:gd name="connsiteX0" fmla="*/ 1 w 40767"/>
                    <a:gd name="connsiteY0" fmla="*/ 20479 h 40766"/>
                    <a:gd name="connsiteX1" fmla="*/ 20479 w 40767"/>
                    <a:gd name="connsiteY1" fmla="*/ 40767 h 40766"/>
                    <a:gd name="connsiteX2" fmla="*/ 40767 w 40767"/>
                    <a:gd name="connsiteY2" fmla="*/ 20288 h 40766"/>
                    <a:gd name="connsiteX3" fmla="*/ 20288 w 40767"/>
                    <a:gd name="connsiteY3" fmla="*/ 0 h 40766"/>
                    <a:gd name="connsiteX4" fmla="*/ 1 w 40767"/>
                    <a:gd name="connsiteY4" fmla="*/ 20479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7" h="40766">
                      <a:moveTo>
                        <a:pt x="1" y="20479"/>
                      </a:moveTo>
                      <a:cubicBezTo>
                        <a:pt x="96" y="31718"/>
                        <a:pt x="9240" y="40767"/>
                        <a:pt x="20479" y="40767"/>
                      </a:cubicBezTo>
                      <a:cubicBezTo>
                        <a:pt x="31719" y="40672"/>
                        <a:pt x="40767" y="31528"/>
                        <a:pt x="40767" y="20288"/>
                      </a:cubicBezTo>
                      <a:cubicBezTo>
                        <a:pt x="40672" y="9049"/>
                        <a:pt x="31528" y="0"/>
                        <a:pt x="20288" y="0"/>
                      </a:cubicBezTo>
                      <a:cubicBezTo>
                        <a:pt x="8954" y="95"/>
                        <a:pt x="-95" y="9334"/>
                        <a:pt x="1" y="20479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4" name="iśḻíďé"/>
                <p:cNvSpPr/>
                <p:nvPr/>
              </p:nvSpPr>
              <p:spPr>
                <a:xfrm>
                  <a:off x="7047659" y="4339513"/>
                  <a:ext cx="102013" cy="102015"/>
                </a:xfrm>
                <a:custGeom>
                  <a:avLst/>
                  <a:gdLst>
                    <a:gd name="connsiteX0" fmla="*/ 0 w 102013"/>
                    <a:gd name="connsiteY0" fmla="*/ 51246 h 102015"/>
                    <a:gd name="connsiteX1" fmla="*/ 51245 w 102013"/>
                    <a:gd name="connsiteY1" fmla="*/ 102014 h 102015"/>
                    <a:gd name="connsiteX2" fmla="*/ 102013 w 102013"/>
                    <a:gd name="connsiteY2" fmla="*/ 50769 h 102015"/>
                    <a:gd name="connsiteX3" fmla="*/ 50768 w 102013"/>
                    <a:gd name="connsiteY3" fmla="*/ 1 h 102015"/>
                    <a:gd name="connsiteX4" fmla="*/ 0 w 102013"/>
                    <a:gd name="connsiteY4" fmla="*/ 51246 h 102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013" h="102015">
                      <a:moveTo>
                        <a:pt x="0" y="51246"/>
                      </a:moveTo>
                      <a:cubicBezTo>
                        <a:pt x="96" y="79440"/>
                        <a:pt x="23051" y="102205"/>
                        <a:pt x="51245" y="102014"/>
                      </a:cubicBezTo>
                      <a:cubicBezTo>
                        <a:pt x="79438" y="101919"/>
                        <a:pt x="102203" y="78964"/>
                        <a:pt x="102013" y="50769"/>
                      </a:cubicBezTo>
                      <a:cubicBezTo>
                        <a:pt x="101918" y="22576"/>
                        <a:pt x="78962" y="-189"/>
                        <a:pt x="50768" y="1"/>
                      </a:cubicBezTo>
                      <a:cubicBezTo>
                        <a:pt x="22670" y="97"/>
                        <a:pt x="-95" y="23052"/>
                        <a:pt x="0" y="51246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5" name="ïṡḷíḋe"/>
                <p:cNvSpPr/>
                <p:nvPr/>
              </p:nvSpPr>
              <p:spPr>
                <a:xfrm>
                  <a:off x="7072043" y="4363802"/>
                  <a:ext cx="53436" cy="53436"/>
                </a:xfrm>
                <a:custGeom>
                  <a:avLst/>
                  <a:gdLst>
                    <a:gd name="connsiteX0" fmla="*/ 1 w 53436"/>
                    <a:gd name="connsiteY0" fmla="*/ 26861 h 53436"/>
                    <a:gd name="connsiteX1" fmla="*/ 26861 w 53436"/>
                    <a:gd name="connsiteY1" fmla="*/ 53436 h 53436"/>
                    <a:gd name="connsiteX2" fmla="*/ 53436 w 53436"/>
                    <a:gd name="connsiteY2" fmla="*/ 26575 h 53436"/>
                    <a:gd name="connsiteX3" fmla="*/ 26575 w 53436"/>
                    <a:gd name="connsiteY3" fmla="*/ 1 h 53436"/>
                    <a:gd name="connsiteX4" fmla="*/ 1 w 53436"/>
                    <a:gd name="connsiteY4" fmla="*/ 26861 h 53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36" h="53436">
                      <a:moveTo>
                        <a:pt x="1" y="26861"/>
                      </a:moveTo>
                      <a:cubicBezTo>
                        <a:pt x="96" y="41625"/>
                        <a:pt x="12097" y="53531"/>
                        <a:pt x="26861" y="53436"/>
                      </a:cubicBezTo>
                      <a:cubicBezTo>
                        <a:pt x="41625" y="53341"/>
                        <a:pt x="53531" y="41339"/>
                        <a:pt x="53436" y="26575"/>
                      </a:cubicBezTo>
                      <a:cubicBezTo>
                        <a:pt x="53340" y="11812"/>
                        <a:pt x="41339" y="-95"/>
                        <a:pt x="26575" y="1"/>
                      </a:cubicBezTo>
                      <a:cubicBezTo>
                        <a:pt x="11811" y="96"/>
                        <a:pt x="-95" y="12097"/>
                        <a:pt x="1" y="26861"/>
                      </a:cubicBezTo>
                      <a:close/>
                    </a:path>
                  </a:pathLst>
                </a:custGeom>
                <a:solidFill>
                  <a:srgbClr val="E8E7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6" name="iŝḷídè"/>
                <p:cNvSpPr/>
                <p:nvPr/>
              </p:nvSpPr>
              <p:spPr>
                <a:xfrm>
                  <a:off x="6517497" y="4538872"/>
                  <a:ext cx="40768" cy="40766"/>
                </a:xfrm>
                <a:custGeom>
                  <a:avLst/>
                  <a:gdLst>
                    <a:gd name="connsiteX0" fmla="*/ 1 w 40768"/>
                    <a:gd name="connsiteY0" fmla="*/ 20479 h 40766"/>
                    <a:gd name="connsiteX1" fmla="*/ 20480 w 40768"/>
                    <a:gd name="connsiteY1" fmla="*/ 40767 h 40766"/>
                    <a:gd name="connsiteX2" fmla="*/ 40768 w 40768"/>
                    <a:gd name="connsiteY2" fmla="*/ 20288 h 40766"/>
                    <a:gd name="connsiteX3" fmla="*/ 20289 w 40768"/>
                    <a:gd name="connsiteY3" fmla="*/ 0 h 40766"/>
                    <a:gd name="connsiteX4" fmla="*/ 1 w 40768"/>
                    <a:gd name="connsiteY4" fmla="*/ 20479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8" h="40766">
                      <a:moveTo>
                        <a:pt x="1" y="20479"/>
                      </a:moveTo>
                      <a:cubicBezTo>
                        <a:pt x="96" y="31718"/>
                        <a:pt x="9240" y="40767"/>
                        <a:pt x="20480" y="40767"/>
                      </a:cubicBezTo>
                      <a:cubicBezTo>
                        <a:pt x="31719" y="40672"/>
                        <a:pt x="40768" y="31528"/>
                        <a:pt x="40768" y="20288"/>
                      </a:cubicBezTo>
                      <a:cubicBezTo>
                        <a:pt x="40673" y="9049"/>
                        <a:pt x="31528" y="0"/>
                        <a:pt x="20289" y="0"/>
                      </a:cubicBezTo>
                      <a:cubicBezTo>
                        <a:pt x="8954" y="95"/>
                        <a:pt x="-95" y="9239"/>
                        <a:pt x="1" y="20479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08" name="图形 278"/>
              <p:cNvGrpSpPr/>
              <p:nvPr/>
            </p:nvGrpSpPr>
            <p:grpSpPr>
              <a:xfrm>
                <a:off x="6535287" y="3146502"/>
                <a:ext cx="559903" cy="962698"/>
                <a:chOff x="6535287" y="3146502"/>
                <a:chExt cx="559903" cy="962698"/>
              </a:xfrm>
              <a:solidFill>
                <a:schemeClr val="accent1"/>
              </a:solidFill>
            </p:grpSpPr>
            <p:sp>
              <p:nvSpPr>
                <p:cNvPr id="217" name="ï$ḻiḓé"/>
                <p:cNvSpPr/>
                <p:nvPr/>
              </p:nvSpPr>
              <p:spPr>
                <a:xfrm>
                  <a:off x="6638751" y="3716483"/>
                  <a:ext cx="289847" cy="392717"/>
                </a:xfrm>
                <a:custGeom>
                  <a:avLst/>
                  <a:gdLst>
                    <a:gd name="connsiteX0" fmla="*/ 146209 w 289847"/>
                    <a:gd name="connsiteY0" fmla="*/ 392716 h 392717"/>
                    <a:gd name="connsiteX1" fmla="*/ 146209 w 289847"/>
                    <a:gd name="connsiteY1" fmla="*/ 392716 h 392717"/>
                    <a:gd name="connsiteX2" fmla="*/ 289846 w 289847"/>
                    <a:gd name="connsiteY2" fmla="*/ 247650 h 392717"/>
                    <a:gd name="connsiteX3" fmla="*/ 288703 w 289847"/>
                    <a:gd name="connsiteY3" fmla="*/ 0 h 392717"/>
                    <a:gd name="connsiteX4" fmla="*/ 0 w 289847"/>
                    <a:gd name="connsiteY4" fmla="*/ 1333 h 392717"/>
                    <a:gd name="connsiteX5" fmla="*/ 1143 w 289847"/>
                    <a:gd name="connsiteY5" fmla="*/ 248984 h 392717"/>
                    <a:gd name="connsiteX6" fmla="*/ 146209 w 289847"/>
                    <a:gd name="connsiteY6" fmla="*/ 392716 h 392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9847" h="392717">
                      <a:moveTo>
                        <a:pt x="146209" y="392716"/>
                      </a:moveTo>
                      <a:lnTo>
                        <a:pt x="146209" y="392716"/>
                      </a:lnTo>
                      <a:cubicBezTo>
                        <a:pt x="225933" y="392335"/>
                        <a:pt x="290226" y="327374"/>
                        <a:pt x="289846" y="247650"/>
                      </a:cubicBezTo>
                      <a:lnTo>
                        <a:pt x="288703" y="0"/>
                      </a:lnTo>
                      <a:lnTo>
                        <a:pt x="0" y="1333"/>
                      </a:lnTo>
                      <a:lnTo>
                        <a:pt x="1143" y="248984"/>
                      </a:lnTo>
                      <a:cubicBezTo>
                        <a:pt x="1524" y="328803"/>
                        <a:pt x="66484" y="393097"/>
                        <a:pt x="146209" y="392716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8" name="i$ļîḑê"/>
                <p:cNvSpPr/>
                <p:nvPr/>
              </p:nvSpPr>
              <p:spPr>
                <a:xfrm>
                  <a:off x="6535287" y="3146502"/>
                  <a:ext cx="490278" cy="663710"/>
                </a:xfrm>
                <a:custGeom>
                  <a:avLst/>
                  <a:gdLst>
                    <a:gd name="connsiteX0" fmla="*/ 117 w 490278"/>
                    <a:gd name="connsiteY0" fmla="*/ 377767 h 663710"/>
                    <a:gd name="connsiteX1" fmla="*/ 223098 w 490278"/>
                    <a:gd name="connsiteY1" fmla="*/ 663707 h 663710"/>
                    <a:gd name="connsiteX2" fmla="*/ 490274 w 490278"/>
                    <a:gd name="connsiteY2" fmla="*/ 375385 h 663710"/>
                    <a:gd name="connsiteX3" fmla="*/ 243386 w 490278"/>
                    <a:gd name="connsiteY3" fmla="*/ 5 h 663710"/>
                    <a:gd name="connsiteX4" fmla="*/ 117 w 490278"/>
                    <a:gd name="connsiteY4" fmla="*/ 377767 h 663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278" h="663710">
                      <a:moveTo>
                        <a:pt x="117" y="377767"/>
                      </a:moveTo>
                      <a:cubicBezTo>
                        <a:pt x="975" y="561313"/>
                        <a:pt x="87748" y="664374"/>
                        <a:pt x="223098" y="663707"/>
                      </a:cubicBezTo>
                      <a:cubicBezTo>
                        <a:pt x="358448" y="663040"/>
                        <a:pt x="491131" y="558932"/>
                        <a:pt x="490274" y="375385"/>
                      </a:cubicBezTo>
                      <a:cubicBezTo>
                        <a:pt x="489417" y="191839"/>
                        <a:pt x="488464" y="-1138"/>
                        <a:pt x="243386" y="5"/>
                      </a:cubicBezTo>
                      <a:cubicBezTo>
                        <a:pt x="-1692" y="1243"/>
                        <a:pt x="-835" y="194220"/>
                        <a:pt x="117" y="377767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19" name="ísḷíḋe"/>
                <p:cNvSpPr/>
                <p:nvPr/>
              </p:nvSpPr>
              <p:spPr>
                <a:xfrm>
                  <a:off x="6999844" y="3439295"/>
                  <a:ext cx="95347" cy="171651"/>
                </a:xfrm>
                <a:custGeom>
                  <a:avLst/>
                  <a:gdLst>
                    <a:gd name="connsiteX0" fmla="*/ 95345 w 95347"/>
                    <a:gd name="connsiteY0" fmla="*/ 67448 h 171651"/>
                    <a:gd name="connsiteX1" fmla="*/ 762 w 95347"/>
                    <a:gd name="connsiteY1" fmla="*/ 171651 h 171651"/>
                    <a:gd name="connsiteX2" fmla="*/ 0 w 95347"/>
                    <a:gd name="connsiteY2" fmla="*/ 5631 h 171651"/>
                    <a:gd name="connsiteX3" fmla="*/ 95345 w 95347"/>
                    <a:gd name="connsiteY3" fmla="*/ 67448 h 171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347" h="171651">
                      <a:moveTo>
                        <a:pt x="95345" y="67448"/>
                      </a:moveTo>
                      <a:cubicBezTo>
                        <a:pt x="95822" y="162603"/>
                        <a:pt x="762" y="171651"/>
                        <a:pt x="762" y="171651"/>
                      </a:cubicBezTo>
                      <a:lnTo>
                        <a:pt x="0" y="5631"/>
                      </a:lnTo>
                      <a:cubicBezTo>
                        <a:pt x="-95" y="5631"/>
                        <a:pt x="94869" y="-27612"/>
                        <a:pt x="95345" y="6744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0" name="ïšḻiḍè"/>
                <p:cNvSpPr/>
                <p:nvPr/>
              </p:nvSpPr>
              <p:spPr>
                <a:xfrm>
                  <a:off x="7017275" y="3478921"/>
                  <a:ext cx="45911" cy="92305"/>
                </a:xfrm>
                <a:custGeom>
                  <a:avLst/>
                  <a:gdLst>
                    <a:gd name="connsiteX0" fmla="*/ 45911 w 45911"/>
                    <a:gd name="connsiteY0" fmla="*/ 36299 h 92305"/>
                    <a:gd name="connsiteX1" fmla="*/ 381 w 45911"/>
                    <a:gd name="connsiteY1" fmla="*/ 92306 h 92305"/>
                    <a:gd name="connsiteX2" fmla="*/ 0 w 45911"/>
                    <a:gd name="connsiteY2" fmla="*/ 2961 h 92305"/>
                    <a:gd name="connsiteX3" fmla="*/ 45911 w 45911"/>
                    <a:gd name="connsiteY3" fmla="*/ 36299 h 92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911" h="92305">
                      <a:moveTo>
                        <a:pt x="45911" y="36299"/>
                      </a:moveTo>
                      <a:cubicBezTo>
                        <a:pt x="46196" y="87448"/>
                        <a:pt x="381" y="92306"/>
                        <a:pt x="381" y="92306"/>
                      </a:cubicBezTo>
                      <a:lnTo>
                        <a:pt x="0" y="2961"/>
                      </a:lnTo>
                      <a:cubicBezTo>
                        <a:pt x="0" y="3057"/>
                        <a:pt x="45720" y="-14850"/>
                        <a:pt x="45911" y="36299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1" name="ïṩḻiḋê"/>
                <p:cNvSpPr/>
                <p:nvPr/>
              </p:nvSpPr>
              <p:spPr>
                <a:xfrm rot="-16317">
                  <a:off x="6838752" y="3438072"/>
                  <a:ext cx="66485" cy="49530"/>
                </a:xfrm>
                <a:custGeom>
                  <a:avLst/>
                  <a:gdLst>
                    <a:gd name="connsiteX0" fmla="*/ 66485 w 66485"/>
                    <a:gd name="connsiteY0" fmla="*/ 24765 h 49530"/>
                    <a:gd name="connsiteX1" fmla="*/ 33243 w 66485"/>
                    <a:gd name="connsiteY1" fmla="*/ 49531 h 49530"/>
                    <a:gd name="connsiteX2" fmla="*/ 0 w 66485"/>
                    <a:gd name="connsiteY2" fmla="*/ 24765 h 49530"/>
                    <a:gd name="connsiteX3" fmla="*/ 33243 w 66485"/>
                    <a:gd name="connsiteY3" fmla="*/ 0 h 49530"/>
                    <a:gd name="connsiteX4" fmla="*/ 66485 w 66485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5" h="49530">
                      <a:moveTo>
                        <a:pt x="66485" y="24765"/>
                      </a:moveTo>
                      <a:cubicBezTo>
                        <a:pt x="66485" y="38443"/>
                        <a:pt x="51602" y="49531"/>
                        <a:pt x="33243" y="49531"/>
                      </a:cubicBezTo>
                      <a:cubicBezTo>
                        <a:pt x="14883" y="49531"/>
                        <a:pt x="0" y="38443"/>
                        <a:pt x="0" y="24765"/>
                      </a:cubicBezTo>
                      <a:cubicBezTo>
                        <a:pt x="0" y="11088"/>
                        <a:pt x="14883" y="0"/>
                        <a:pt x="33243" y="0"/>
                      </a:cubicBezTo>
                      <a:cubicBezTo>
                        <a:pt x="51602" y="0"/>
                        <a:pt x="66485" y="11088"/>
                        <a:pt x="66485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2" name="išḷïḓé"/>
                <p:cNvSpPr/>
                <p:nvPr/>
              </p:nvSpPr>
              <p:spPr>
                <a:xfrm>
                  <a:off x="6604270" y="3439210"/>
                  <a:ext cx="66580" cy="49531"/>
                </a:xfrm>
                <a:custGeom>
                  <a:avLst/>
                  <a:gdLst>
                    <a:gd name="connsiteX0" fmla="*/ 66580 w 66580"/>
                    <a:gd name="connsiteY0" fmla="*/ 24575 h 49531"/>
                    <a:gd name="connsiteX1" fmla="*/ 33433 w 66580"/>
                    <a:gd name="connsiteY1" fmla="*/ 49531 h 49531"/>
                    <a:gd name="connsiteX2" fmla="*/ 0 w 66580"/>
                    <a:gd name="connsiteY2" fmla="*/ 24956 h 49531"/>
                    <a:gd name="connsiteX3" fmla="*/ 33147 w 66580"/>
                    <a:gd name="connsiteY3" fmla="*/ 1 h 49531"/>
                    <a:gd name="connsiteX4" fmla="*/ 66580 w 66580"/>
                    <a:gd name="connsiteY4" fmla="*/ 24575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580" h="49531">
                      <a:moveTo>
                        <a:pt x="66580" y="24575"/>
                      </a:moveTo>
                      <a:cubicBezTo>
                        <a:pt x="66675" y="38291"/>
                        <a:pt x="51816" y="49435"/>
                        <a:pt x="33433" y="49531"/>
                      </a:cubicBezTo>
                      <a:cubicBezTo>
                        <a:pt x="15050" y="49626"/>
                        <a:pt x="95" y="38577"/>
                        <a:pt x="0" y="24956"/>
                      </a:cubicBezTo>
                      <a:cubicBezTo>
                        <a:pt x="-95" y="11240"/>
                        <a:pt x="14764" y="96"/>
                        <a:pt x="33147" y="1"/>
                      </a:cubicBezTo>
                      <a:cubicBezTo>
                        <a:pt x="51530" y="-95"/>
                        <a:pt x="66485" y="10954"/>
                        <a:pt x="66580" y="2457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3" name="îşļiḋé"/>
                <p:cNvSpPr/>
                <p:nvPr/>
              </p:nvSpPr>
              <p:spPr>
                <a:xfrm>
                  <a:off x="6854015" y="3443021"/>
                  <a:ext cx="39625" cy="39624"/>
                </a:xfrm>
                <a:custGeom>
                  <a:avLst/>
                  <a:gdLst>
                    <a:gd name="connsiteX0" fmla="*/ 39625 w 39625"/>
                    <a:gd name="connsiteY0" fmla="*/ 19717 h 39624"/>
                    <a:gd name="connsiteX1" fmla="*/ 19908 w 39625"/>
                    <a:gd name="connsiteY1" fmla="*/ 39624 h 39624"/>
                    <a:gd name="connsiteX2" fmla="*/ 1 w 39625"/>
                    <a:gd name="connsiteY2" fmla="*/ 19907 h 39624"/>
                    <a:gd name="connsiteX3" fmla="*/ 19718 w 39625"/>
                    <a:gd name="connsiteY3" fmla="*/ 0 h 39624"/>
                    <a:gd name="connsiteX4" fmla="*/ 39625 w 39625"/>
                    <a:gd name="connsiteY4" fmla="*/ 19717 h 39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5" h="39624">
                      <a:moveTo>
                        <a:pt x="39625" y="19717"/>
                      </a:moveTo>
                      <a:cubicBezTo>
                        <a:pt x="39720" y="30671"/>
                        <a:pt x="30862" y="39529"/>
                        <a:pt x="19908" y="39624"/>
                      </a:cubicBezTo>
                      <a:cubicBezTo>
                        <a:pt x="8954" y="39719"/>
                        <a:pt x="96" y="30861"/>
                        <a:pt x="1" y="19907"/>
                      </a:cubicBezTo>
                      <a:cubicBezTo>
                        <a:pt x="-95" y="8953"/>
                        <a:pt x="8764" y="95"/>
                        <a:pt x="19718" y="0"/>
                      </a:cubicBezTo>
                      <a:cubicBezTo>
                        <a:pt x="30672" y="0"/>
                        <a:pt x="39625" y="8763"/>
                        <a:pt x="39625" y="19717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4" name="ïṡḷiďe"/>
                <p:cNvSpPr/>
                <p:nvPr/>
              </p:nvSpPr>
              <p:spPr>
                <a:xfrm>
                  <a:off x="6619700" y="3444163"/>
                  <a:ext cx="39625" cy="39625"/>
                </a:xfrm>
                <a:custGeom>
                  <a:avLst/>
                  <a:gdLst>
                    <a:gd name="connsiteX0" fmla="*/ 39625 w 39625"/>
                    <a:gd name="connsiteY0" fmla="*/ 19718 h 39625"/>
                    <a:gd name="connsiteX1" fmla="*/ 19908 w 39625"/>
                    <a:gd name="connsiteY1" fmla="*/ 39625 h 39625"/>
                    <a:gd name="connsiteX2" fmla="*/ 1 w 39625"/>
                    <a:gd name="connsiteY2" fmla="*/ 19908 h 39625"/>
                    <a:gd name="connsiteX3" fmla="*/ 19718 w 39625"/>
                    <a:gd name="connsiteY3" fmla="*/ 1 h 39625"/>
                    <a:gd name="connsiteX4" fmla="*/ 39625 w 39625"/>
                    <a:gd name="connsiteY4" fmla="*/ 19718 h 3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5" h="39625">
                      <a:moveTo>
                        <a:pt x="39625" y="19718"/>
                      </a:moveTo>
                      <a:cubicBezTo>
                        <a:pt x="39720" y="30671"/>
                        <a:pt x="30862" y="39530"/>
                        <a:pt x="19908" y="39625"/>
                      </a:cubicBezTo>
                      <a:cubicBezTo>
                        <a:pt x="8954" y="39720"/>
                        <a:pt x="96" y="30862"/>
                        <a:pt x="1" y="19908"/>
                      </a:cubicBezTo>
                      <a:cubicBezTo>
                        <a:pt x="-95" y="8954"/>
                        <a:pt x="8764" y="96"/>
                        <a:pt x="19718" y="1"/>
                      </a:cubicBezTo>
                      <a:cubicBezTo>
                        <a:pt x="30671" y="-94"/>
                        <a:pt x="39529" y="8764"/>
                        <a:pt x="39625" y="19718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5" name="íṧľîḍe"/>
                <p:cNvSpPr/>
                <p:nvPr/>
              </p:nvSpPr>
              <p:spPr>
                <a:xfrm>
                  <a:off x="6710227" y="3480264"/>
                  <a:ext cx="47205" cy="131922"/>
                </a:xfrm>
                <a:custGeom>
                  <a:avLst/>
                  <a:gdLst>
                    <a:gd name="connsiteX0" fmla="*/ 46539 w 47205"/>
                    <a:gd name="connsiteY0" fmla="*/ 0 h 131922"/>
                    <a:gd name="connsiteX1" fmla="*/ 47206 w 47205"/>
                    <a:gd name="connsiteY1" fmla="*/ 131921 h 131922"/>
                    <a:gd name="connsiteX2" fmla="*/ 46539 w 47205"/>
                    <a:gd name="connsiteY2" fmla="*/ 0 h 131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205" h="131922">
                      <a:moveTo>
                        <a:pt x="46539" y="0"/>
                      </a:moveTo>
                      <a:lnTo>
                        <a:pt x="47206" y="131921"/>
                      </a:lnTo>
                      <a:cubicBezTo>
                        <a:pt x="-58617" y="132397"/>
                        <a:pt x="46539" y="0"/>
                        <a:pt x="46539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6" name="íṣḷíde"/>
                <p:cNvSpPr/>
                <p:nvPr/>
              </p:nvSpPr>
              <p:spPr>
                <a:xfrm>
                  <a:off x="6700473" y="3653809"/>
                  <a:ext cx="114109" cy="13421"/>
                </a:xfrm>
                <a:custGeom>
                  <a:avLst/>
                  <a:gdLst>
                    <a:gd name="connsiteX0" fmla="*/ 114109 w 114109"/>
                    <a:gd name="connsiteY0" fmla="*/ 0 h 13421"/>
                    <a:gd name="connsiteX1" fmla="*/ 0 w 114109"/>
                    <a:gd name="connsiteY1" fmla="*/ 571 h 13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109" h="13421">
                      <a:moveTo>
                        <a:pt x="114109" y="0"/>
                      </a:moveTo>
                      <a:cubicBezTo>
                        <a:pt x="114109" y="0"/>
                        <a:pt x="57245" y="29813"/>
                        <a:pt x="0" y="571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7" name="ïşḻîḍé"/>
                <p:cNvSpPr/>
                <p:nvPr/>
              </p:nvSpPr>
              <p:spPr>
                <a:xfrm>
                  <a:off x="6835252" y="3412321"/>
                  <a:ext cx="72961" cy="12220"/>
                </a:xfrm>
                <a:custGeom>
                  <a:avLst/>
                  <a:gdLst>
                    <a:gd name="connsiteX0" fmla="*/ 0 w 72961"/>
                    <a:gd name="connsiteY0" fmla="*/ 12221 h 12220"/>
                    <a:gd name="connsiteX1" fmla="*/ 72961 w 72961"/>
                    <a:gd name="connsiteY1" fmla="*/ 11840 h 12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220">
                      <a:moveTo>
                        <a:pt x="0" y="12221"/>
                      </a:moveTo>
                      <a:cubicBezTo>
                        <a:pt x="0" y="12221"/>
                        <a:pt x="36385" y="-15020"/>
                        <a:pt x="72961" y="1184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8" name="ïṥľiďè"/>
                <p:cNvSpPr/>
                <p:nvPr/>
              </p:nvSpPr>
              <p:spPr>
                <a:xfrm>
                  <a:off x="6600841" y="3413464"/>
                  <a:ext cx="72961" cy="12221"/>
                </a:xfrm>
                <a:custGeom>
                  <a:avLst/>
                  <a:gdLst>
                    <a:gd name="connsiteX0" fmla="*/ 0 w 72961"/>
                    <a:gd name="connsiteY0" fmla="*/ 12221 h 12221"/>
                    <a:gd name="connsiteX1" fmla="*/ 72962 w 72961"/>
                    <a:gd name="connsiteY1" fmla="*/ 11840 h 12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221">
                      <a:moveTo>
                        <a:pt x="0" y="12221"/>
                      </a:moveTo>
                      <a:cubicBezTo>
                        <a:pt x="0" y="12221"/>
                        <a:pt x="36386" y="-15020"/>
                        <a:pt x="72962" y="1184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9" name="îṧļíḋe"/>
                <p:cNvSpPr/>
                <p:nvPr/>
              </p:nvSpPr>
              <p:spPr>
                <a:xfrm>
                  <a:off x="6847920" y="3512553"/>
                  <a:ext cx="140779" cy="140779"/>
                </a:xfrm>
                <a:custGeom>
                  <a:avLst/>
                  <a:gdLst>
                    <a:gd name="connsiteX0" fmla="*/ 140780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80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80" y="70390"/>
                      </a:moveTo>
                      <a:cubicBezTo>
                        <a:pt x="140780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4" y="0"/>
                        <a:pt x="70390" y="0"/>
                      </a:cubicBezTo>
                      <a:cubicBezTo>
                        <a:pt x="109265" y="0"/>
                        <a:pt x="140780" y="31515"/>
                        <a:pt x="140780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0" name="îşľïďè"/>
                <p:cNvSpPr/>
                <p:nvPr/>
              </p:nvSpPr>
              <p:spPr>
                <a:xfrm>
                  <a:off x="6535786" y="3514076"/>
                  <a:ext cx="122110" cy="140877"/>
                </a:xfrm>
                <a:custGeom>
                  <a:avLst/>
                  <a:gdLst>
                    <a:gd name="connsiteX0" fmla="*/ 51339 w 122110"/>
                    <a:gd name="connsiteY0" fmla="*/ 1 h 140877"/>
                    <a:gd name="connsiteX1" fmla="*/ 122110 w 122110"/>
                    <a:gd name="connsiteY1" fmla="*/ 70105 h 140877"/>
                    <a:gd name="connsiteX2" fmla="*/ 52006 w 122110"/>
                    <a:gd name="connsiteY2" fmla="*/ 140876 h 140877"/>
                    <a:gd name="connsiteX3" fmla="*/ 15240 w 122110"/>
                    <a:gd name="connsiteY3" fmla="*/ 130493 h 140877"/>
                    <a:gd name="connsiteX4" fmla="*/ 0 w 122110"/>
                    <a:gd name="connsiteY4" fmla="*/ 22956 h 140877"/>
                    <a:gd name="connsiteX5" fmla="*/ 51339 w 122110"/>
                    <a:gd name="connsiteY5" fmla="*/ 1 h 140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110" h="140877">
                      <a:moveTo>
                        <a:pt x="51339" y="1"/>
                      </a:moveTo>
                      <a:cubicBezTo>
                        <a:pt x="90201" y="-190"/>
                        <a:pt x="121920" y="31148"/>
                        <a:pt x="122110" y="70105"/>
                      </a:cubicBezTo>
                      <a:cubicBezTo>
                        <a:pt x="122301" y="108967"/>
                        <a:pt x="90964" y="140685"/>
                        <a:pt x="52006" y="140876"/>
                      </a:cubicBezTo>
                      <a:cubicBezTo>
                        <a:pt x="38481" y="140971"/>
                        <a:pt x="26003" y="136970"/>
                        <a:pt x="15240" y="130493"/>
                      </a:cubicBezTo>
                      <a:cubicBezTo>
                        <a:pt x="6191" y="98870"/>
                        <a:pt x="1143" y="62866"/>
                        <a:pt x="0" y="22956"/>
                      </a:cubicBezTo>
                      <a:cubicBezTo>
                        <a:pt x="12859" y="8954"/>
                        <a:pt x="30956" y="96"/>
                        <a:pt x="51339" y="1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09" name="îṣľîḑe"/>
              <p:cNvSpPr/>
              <p:nvPr/>
            </p:nvSpPr>
            <p:spPr>
              <a:xfrm>
                <a:off x="6311948" y="5732545"/>
                <a:ext cx="260317" cy="261842"/>
              </a:xfrm>
              <a:custGeom>
                <a:avLst/>
                <a:gdLst>
                  <a:gd name="connsiteX0" fmla="*/ 0 w 260317"/>
                  <a:gd name="connsiteY0" fmla="*/ 196596 h 261842"/>
                  <a:gd name="connsiteX1" fmla="*/ 194786 w 260317"/>
                  <a:gd name="connsiteY1" fmla="*/ 0 h 261842"/>
                  <a:gd name="connsiteX2" fmla="*/ 260318 w 260317"/>
                  <a:gd name="connsiteY2" fmla="*/ 64865 h 261842"/>
                  <a:gd name="connsiteX3" fmla="*/ 65246 w 260317"/>
                  <a:gd name="connsiteY3" fmla="*/ 261842 h 261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0317" h="261842">
                    <a:moveTo>
                      <a:pt x="0" y="196596"/>
                    </a:moveTo>
                    <a:lnTo>
                      <a:pt x="194786" y="0"/>
                    </a:lnTo>
                    <a:lnTo>
                      <a:pt x="260318" y="64865"/>
                    </a:lnTo>
                    <a:lnTo>
                      <a:pt x="65246" y="261842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0" name="ïsḷíḍè"/>
              <p:cNvSpPr/>
              <p:nvPr/>
            </p:nvSpPr>
            <p:spPr>
              <a:xfrm>
                <a:off x="7038039" y="5729687"/>
                <a:ext cx="261556" cy="260604"/>
              </a:xfrm>
              <a:custGeom>
                <a:avLst/>
                <a:gdLst>
                  <a:gd name="connsiteX0" fmla="*/ 261557 w 261556"/>
                  <a:gd name="connsiteY0" fmla="*/ 194786 h 260604"/>
                  <a:gd name="connsiteX1" fmla="*/ 64865 w 261556"/>
                  <a:gd name="connsiteY1" fmla="*/ 0 h 260604"/>
                  <a:gd name="connsiteX2" fmla="*/ 0 w 261556"/>
                  <a:gd name="connsiteY2" fmla="*/ 65532 h 260604"/>
                  <a:gd name="connsiteX3" fmla="*/ 196882 w 261556"/>
                  <a:gd name="connsiteY3" fmla="*/ 260604 h 26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556" h="260604">
                    <a:moveTo>
                      <a:pt x="261557" y="194786"/>
                    </a:moveTo>
                    <a:lnTo>
                      <a:pt x="64865" y="0"/>
                    </a:lnTo>
                    <a:lnTo>
                      <a:pt x="0" y="65532"/>
                    </a:lnTo>
                    <a:lnTo>
                      <a:pt x="196882" y="260604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1" name="îśḻidè"/>
              <p:cNvSpPr/>
              <p:nvPr/>
            </p:nvSpPr>
            <p:spPr>
              <a:xfrm>
                <a:off x="6611033" y="5709780"/>
                <a:ext cx="348233" cy="58864"/>
              </a:xfrm>
              <a:custGeom>
                <a:avLst/>
                <a:gdLst>
                  <a:gd name="connsiteX0" fmla="*/ 348234 w 348233"/>
                  <a:gd name="connsiteY0" fmla="*/ 0 h 58864"/>
                  <a:gd name="connsiteX1" fmla="*/ 0 w 348233"/>
                  <a:gd name="connsiteY1" fmla="*/ 1619 h 58864"/>
                  <a:gd name="connsiteX2" fmla="*/ 286 w 348233"/>
                  <a:gd name="connsiteY2" fmla="*/ 58864 h 58864"/>
                  <a:gd name="connsiteX3" fmla="*/ 347758 w 348233"/>
                  <a:gd name="connsiteY3" fmla="*/ 57245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8233" h="58864">
                    <a:moveTo>
                      <a:pt x="348234" y="0"/>
                    </a:moveTo>
                    <a:lnTo>
                      <a:pt x="0" y="1619"/>
                    </a:lnTo>
                    <a:lnTo>
                      <a:pt x="286" y="58864"/>
                    </a:lnTo>
                    <a:lnTo>
                      <a:pt x="347758" y="57245"/>
                    </a:ln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2" name="îsḻidé"/>
              <p:cNvSpPr/>
              <p:nvPr/>
            </p:nvSpPr>
            <p:spPr>
              <a:xfrm>
                <a:off x="6565977" y="3907269"/>
                <a:ext cx="437254" cy="266848"/>
              </a:xfrm>
              <a:custGeom>
                <a:avLst/>
                <a:gdLst>
                  <a:gd name="connsiteX0" fmla="*/ 374716 w 437254"/>
                  <a:gd name="connsiteY0" fmla="*/ 9049 h 266848"/>
                  <a:gd name="connsiteX1" fmla="*/ 362334 w 437254"/>
                  <a:gd name="connsiteY1" fmla="*/ 0 h 266848"/>
                  <a:gd name="connsiteX2" fmla="*/ 218887 w 437254"/>
                  <a:gd name="connsiteY2" fmla="*/ 184309 h 266848"/>
                  <a:gd name="connsiteX3" fmla="*/ 73631 w 437254"/>
                  <a:gd name="connsiteY3" fmla="*/ 1429 h 266848"/>
                  <a:gd name="connsiteX4" fmla="*/ 61344 w 437254"/>
                  <a:gd name="connsiteY4" fmla="*/ 10668 h 266848"/>
                  <a:gd name="connsiteX5" fmla="*/ 43818 w 437254"/>
                  <a:gd name="connsiteY5" fmla="*/ 236029 h 266848"/>
                  <a:gd name="connsiteX6" fmla="*/ 219078 w 437254"/>
                  <a:gd name="connsiteY6" fmla="*/ 225647 h 266848"/>
                  <a:gd name="connsiteX7" fmla="*/ 394433 w 437254"/>
                  <a:gd name="connsiteY7" fmla="*/ 234410 h 266848"/>
                  <a:gd name="connsiteX8" fmla="*/ 374716 w 437254"/>
                  <a:gd name="connsiteY8" fmla="*/ 9049 h 266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254" h="266848">
                    <a:moveTo>
                      <a:pt x="374716" y="9049"/>
                    </a:moveTo>
                    <a:lnTo>
                      <a:pt x="362334" y="0"/>
                    </a:lnTo>
                    <a:cubicBezTo>
                      <a:pt x="363001" y="137827"/>
                      <a:pt x="218887" y="184309"/>
                      <a:pt x="218887" y="184309"/>
                    </a:cubicBezTo>
                    <a:cubicBezTo>
                      <a:pt x="218887" y="184309"/>
                      <a:pt x="74298" y="139160"/>
                      <a:pt x="73631" y="1429"/>
                    </a:cubicBezTo>
                    <a:lnTo>
                      <a:pt x="61344" y="10668"/>
                    </a:lnTo>
                    <a:cubicBezTo>
                      <a:pt x="-11427" y="65056"/>
                      <a:pt x="-22190" y="173736"/>
                      <a:pt x="43818" y="236029"/>
                    </a:cubicBezTo>
                    <a:cubicBezTo>
                      <a:pt x="82394" y="272415"/>
                      <a:pt x="138687" y="285274"/>
                      <a:pt x="219078" y="225647"/>
                    </a:cubicBezTo>
                    <a:cubicBezTo>
                      <a:pt x="300041" y="284607"/>
                      <a:pt x="356238" y="271082"/>
                      <a:pt x="394433" y="234410"/>
                    </a:cubicBezTo>
                    <a:cubicBezTo>
                      <a:pt x="459870" y="171260"/>
                      <a:pt x="447964" y="62675"/>
                      <a:pt x="374716" y="9049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îşľîḓe"/>
              <p:cNvSpPr/>
              <p:nvPr/>
            </p:nvSpPr>
            <p:spPr>
              <a:xfrm>
                <a:off x="6311948" y="5732545"/>
                <a:ext cx="194786" cy="196595"/>
              </a:xfrm>
              <a:custGeom>
                <a:avLst/>
                <a:gdLst>
                  <a:gd name="connsiteX0" fmla="*/ 194786 w 194786"/>
                  <a:gd name="connsiteY0" fmla="*/ 0 h 196595"/>
                  <a:gd name="connsiteX1" fmla="*/ 0 w 194786"/>
                  <a:gd name="connsiteY1" fmla="*/ 196596 h 19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6" h="196595">
                    <a:moveTo>
                      <a:pt x="194786" y="0"/>
                    </a:moveTo>
                    <a:lnTo>
                      <a:pt x="0" y="196596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ïS1ídê"/>
              <p:cNvSpPr/>
              <p:nvPr/>
            </p:nvSpPr>
            <p:spPr>
              <a:xfrm>
                <a:off x="7102904" y="5729688"/>
                <a:ext cx="196691" cy="194786"/>
              </a:xfrm>
              <a:custGeom>
                <a:avLst/>
                <a:gdLst>
                  <a:gd name="connsiteX0" fmla="*/ 0 w 196691"/>
                  <a:gd name="connsiteY0" fmla="*/ 0 h 194786"/>
                  <a:gd name="connsiteX1" fmla="*/ 196692 w 196691"/>
                  <a:gd name="connsiteY1" fmla="*/ 194786 h 19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691" h="194786">
                    <a:moveTo>
                      <a:pt x="0" y="0"/>
                    </a:moveTo>
                    <a:lnTo>
                      <a:pt x="196692" y="194786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5" name="íṡḻíḍê"/>
              <p:cNvSpPr/>
              <p:nvPr/>
            </p:nvSpPr>
            <p:spPr>
              <a:xfrm>
                <a:off x="6535024" y="3424577"/>
                <a:ext cx="497452" cy="396589"/>
              </a:xfrm>
              <a:custGeom>
                <a:avLst/>
                <a:gdLst>
                  <a:gd name="connsiteX0" fmla="*/ 18097 w 497452"/>
                  <a:gd name="connsiteY0" fmla="*/ 229042 h 396589"/>
                  <a:gd name="connsiteX1" fmla="*/ 64675 w 497452"/>
                  <a:gd name="connsiteY1" fmla="*/ 131601 h 396589"/>
                  <a:gd name="connsiteX2" fmla="*/ 0 w 497452"/>
                  <a:gd name="connsiteY2" fmla="*/ 23873 h 396589"/>
                  <a:gd name="connsiteX3" fmla="*/ 95 w 497452"/>
                  <a:gd name="connsiteY3" fmla="*/ 4918 h 396589"/>
                  <a:gd name="connsiteX4" fmla="*/ 72676 w 497452"/>
                  <a:gd name="connsiteY4" fmla="*/ 125791 h 396589"/>
                  <a:gd name="connsiteX5" fmla="*/ 244697 w 497452"/>
                  <a:gd name="connsiteY5" fmla="*/ 124933 h 396589"/>
                  <a:gd name="connsiteX6" fmla="*/ 416719 w 497452"/>
                  <a:gd name="connsiteY6" fmla="*/ 124076 h 396589"/>
                  <a:gd name="connsiteX7" fmla="*/ 488156 w 497452"/>
                  <a:gd name="connsiteY7" fmla="*/ 2442 h 396589"/>
                  <a:gd name="connsiteX8" fmla="*/ 494919 w 497452"/>
                  <a:gd name="connsiteY8" fmla="*/ 632 h 396589"/>
                  <a:gd name="connsiteX9" fmla="*/ 496824 w 497452"/>
                  <a:gd name="connsiteY9" fmla="*/ 7204 h 396589"/>
                  <a:gd name="connsiteX10" fmla="*/ 424815 w 497452"/>
                  <a:gd name="connsiteY10" fmla="*/ 129696 h 396589"/>
                  <a:gd name="connsiteX11" fmla="*/ 472250 w 497452"/>
                  <a:gd name="connsiteY11" fmla="*/ 226756 h 396589"/>
                  <a:gd name="connsiteX12" fmla="*/ 483108 w 497452"/>
                  <a:gd name="connsiteY12" fmla="*/ 181607 h 396589"/>
                  <a:gd name="connsiteX13" fmla="*/ 493490 w 497452"/>
                  <a:gd name="connsiteY13" fmla="*/ 179512 h 396589"/>
                  <a:gd name="connsiteX14" fmla="*/ 475202 w 497452"/>
                  <a:gd name="connsiteY14" fmla="*/ 245425 h 396589"/>
                  <a:gd name="connsiteX15" fmla="*/ 245936 w 497452"/>
                  <a:gd name="connsiteY15" fmla="*/ 396586 h 396589"/>
                  <a:gd name="connsiteX16" fmla="*/ 18479 w 497452"/>
                  <a:gd name="connsiteY16" fmla="*/ 243901 h 396589"/>
                  <a:gd name="connsiteX17" fmla="*/ 1905 w 497452"/>
                  <a:gd name="connsiteY17" fmla="*/ 152937 h 396589"/>
                  <a:gd name="connsiteX18" fmla="*/ 18097 w 497452"/>
                  <a:gd name="connsiteY18" fmla="*/ 229042 h 396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7452" h="396589">
                    <a:moveTo>
                      <a:pt x="18097" y="229042"/>
                    </a:moveTo>
                    <a:cubicBezTo>
                      <a:pt x="46577" y="187894"/>
                      <a:pt x="60293" y="146460"/>
                      <a:pt x="64675" y="131601"/>
                    </a:cubicBezTo>
                    <a:lnTo>
                      <a:pt x="0" y="23873"/>
                    </a:lnTo>
                    <a:lnTo>
                      <a:pt x="95" y="4918"/>
                    </a:lnTo>
                    <a:lnTo>
                      <a:pt x="72676" y="125791"/>
                    </a:lnTo>
                    <a:lnTo>
                      <a:pt x="244697" y="124933"/>
                    </a:lnTo>
                    <a:lnTo>
                      <a:pt x="416719" y="124076"/>
                    </a:lnTo>
                    <a:lnTo>
                      <a:pt x="488156" y="2442"/>
                    </a:lnTo>
                    <a:cubicBezTo>
                      <a:pt x="489490" y="156"/>
                      <a:pt x="492538" y="-701"/>
                      <a:pt x="494919" y="632"/>
                    </a:cubicBezTo>
                    <a:cubicBezTo>
                      <a:pt x="497300" y="1966"/>
                      <a:pt x="498157" y="4918"/>
                      <a:pt x="496824" y="7204"/>
                    </a:cubicBezTo>
                    <a:lnTo>
                      <a:pt x="424815" y="129696"/>
                    </a:lnTo>
                    <a:cubicBezTo>
                      <a:pt x="429292" y="144555"/>
                      <a:pt x="443484" y="185798"/>
                      <a:pt x="472250" y="226756"/>
                    </a:cubicBezTo>
                    <a:cubicBezTo>
                      <a:pt x="475393" y="217326"/>
                      <a:pt x="479488" y="202372"/>
                      <a:pt x="483108" y="181607"/>
                    </a:cubicBezTo>
                    <a:lnTo>
                      <a:pt x="493490" y="179512"/>
                    </a:lnTo>
                    <a:cubicBezTo>
                      <a:pt x="486156" y="223136"/>
                      <a:pt x="480632" y="231994"/>
                      <a:pt x="475202" y="245425"/>
                    </a:cubicBezTo>
                    <a:cubicBezTo>
                      <a:pt x="439198" y="334483"/>
                      <a:pt x="350711" y="396110"/>
                      <a:pt x="245936" y="396586"/>
                    </a:cubicBezTo>
                    <a:cubicBezTo>
                      <a:pt x="141161" y="397063"/>
                      <a:pt x="54578" y="343342"/>
                      <a:pt x="18479" y="243901"/>
                    </a:cubicBezTo>
                    <a:cubicBezTo>
                      <a:pt x="10477" y="221803"/>
                      <a:pt x="95" y="153127"/>
                      <a:pt x="1905" y="152937"/>
                    </a:cubicBezTo>
                    <a:cubicBezTo>
                      <a:pt x="6668" y="190751"/>
                      <a:pt x="13430" y="215421"/>
                      <a:pt x="18097" y="229042"/>
                    </a:cubicBez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î$ľíḑê"/>
              <p:cNvSpPr/>
              <p:nvPr/>
            </p:nvSpPr>
            <p:spPr>
              <a:xfrm>
                <a:off x="6501487" y="3056205"/>
                <a:ext cx="559296" cy="391947"/>
              </a:xfrm>
              <a:custGeom>
                <a:avLst/>
                <a:gdLst>
                  <a:gd name="connsiteX0" fmla="*/ 545697 w 559296"/>
                  <a:gd name="connsiteY0" fmla="*/ 361289 h 391947"/>
                  <a:gd name="connsiteX1" fmla="*/ 498262 w 559296"/>
                  <a:gd name="connsiteY1" fmla="*/ 388721 h 391947"/>
                  <a:gd name="connsiteX2" fmla="*/ 277568 w 559296"/>
                  <a:gd name="connsiteY2" fmla="*/ 179171 h 391947"/>
                  <a:gd name="connsiteX3" fmla="*/ 14583 w 559296"/>
                  <a:gd name="connsiteY3" fmla="*/ 325380 h 391947"/>
                  <a:gd name="connsiteX4" fmla="*/ 269376 w 559296"/>
                  <a:gd name="connsiteY4" fmla="*/ 6 h 391947"/>
                  <a:gd name="connsiteX5" fmla="*/ 545697 w 559296"/>
                  <a:gd name="connsiteY5" fmla="*/ 361289 h 391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9296" h="391947">
                    <a:moveTo>
                      <a:pt x="545697" y="361289"/>
                    </a:moveTo>
                    <a:cubicBezTo>
                      <a:pt x="545697" y="361289"/>
                      <a:pt x="532647" y="403770"/>
                      <a:pt x="498262" y="388721"/>
                    </a:cubicBezTo>
                    <a:cubicBezTo>
                      <a:pt x="463877" y="373671"/>
                      <a:pt x="467687" y="190029"/>
                      <a:pt x="277568" y="179171"/>
                    </a:cubicBezTo>
                    <a:cubicBezTo>
                      <a:pt x="205940" y="344620"/>
                      <a:pt x="58112" y="368528"/>
                      <a:pt x="14583" y="325380"/>
                    </a:cubicBezTo>
                    <a:cubicBezTo>
                      <a:pt x="-28947" y="282231"/>
                      <a:pt x="16297" y="1244"/>
                      <a:pt x="269376" y="6"/>
                    </a:cubicBezTo>
                    <a:cubicBezTo>
                      <a:pt x="522551" y="-1233"/>
                      <a:pt x="592560" y="202126"/>
                      <a:pt x="545697" y="361289"/>
                    </a:cubicBez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4" name="iṣḻidê"/>
          <p:cNvSpPr/>
          <p:nvPr userDrawn="1"/>
        </p:nvSpPr>
        <p:spPr>
          <a:xfrm>
            <a:off x="0" y="3417333"/>
            <a:ext cx="12192000" cy="3440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669926" y="5062873"/>
            <a:ext cx="10850562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669926" y="3416361"/>
            <a:ext cx="10850562" cy="1503172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6" y="5637568"/>
            <a:ext cx="1085056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6" y="5940189"/>
            <a:ext cx="1085055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 userDrawn="1"/>
        </p:nvGrpSpPr>
        <p:grpSpPr>
          <a:xfrm>
            <a:off x="2879186" y="552451"/>
            <a:ext cx="6988581" cy="3440667"/>
            <a:chOff x="459836" y="462258"/>
            <a:chExt cx="11526927" cy="5675017"/>
          </a:xfrm>
        </p:grpSpPr>
        <p:grpSp>
          <p:nvGrpSpPr>
            <p:cNvPr id="5" name="图形 278"/>
            <p:cNvGrpSpPr/>
            <p:nvPr userDrawn="1"/>
          </p:nvGrpSpPr>
          <p:grpSpPr>
            <a:xfrm>
              <a:off x="4770226" y="462258"/>
              <a:ext cx="2170035" cy="4673081"/>
              <a:chOff x="4178322" y="3153106"/>
              <a:chExt cx="1559976" cy="3359345"/>
            </a:xfrm>
            <a:solidFill>
              <a:schemeClr val="accent1"/>
            </a:solidFill>
          </p:grpSpPr>
          <p:sp>
            <p:nvSpPr>
              <p:cNvPr id="206" name="î$ľiḍé"/>
              <p:cNvSpPr/>
              <p:nvPr/>
            </p:nvSpPr>
            <p:spPr>
              <a:xfrm>
                <a:off x="4466003" y="6436347"/>
                <a:ext cx="1157001" cy="76104"/>
              </a:xfrm>
              <a:custGeom>
                <a:avLst/>
                <a:gdLst>
                  <a:gd name="connsiteX0" fmla="*/ 0 w 1157001"/>
                  <a:gd name="connsiteY0" fmla="*/ 0 h 76104"/>
                  <a:gd name="connsiteX1" fmla="*/ 0 w 1157001"/>
                  <a:gd name="connsiteY1" fmla="*/ 76105 h 76104"/>
                  <a:gd name="connsiteX2" fmla="*/ 1157002 w 1157001"/>
                  <a:gd name="connsiteY2" fmla="*/ 76105 h 76104"/>
                  <a:gd name="connsiteX3" fmla="*/ 1156049 w 1157001"/>
                  <a:gd name="connsiteY3" fmla="*/ 0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7001" h="76104">
                    <a:moveTo>
                      <a:pt x="0" y="0"/>
                    </a:moveTo>
                    <a:lnTo>
                      <a:pt x="0" y="76105"/>
                    </a:lnTo>
                    <a:lnTo>
                      <a:pt x="1157002" y="76105"/>
                    </a:lnTo>
                    <a:lnTo>
                      <a:pt x="115604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7" name="iṩḷíḓê"/>
              <p:cNvSpPr/>
              <p:nvPr/>
            </p:nvSpPr>
            <p:spPr>
              <a:xfrm>
                <a:off x="4190159" y="4043777"/>
                <a:ext cx="719804" cy="896287"/>
              </a:xfrm>
              <a:custGeom>
                <a:avLst/>
                <a:gdLst>
                  <a:gd name="connsiteX0" fmla="*/ 0 w 719804"/>
                  <a:gd name="connsiteY0" fmla="*/ 782083 h 896287"/>
                  <a:gd name="connsiteX1" fmla="*/ 18574 w 719804"/>
                  <a:gd name="connsiteY1" fmla="*/ 785702 h 896287"/>
                  <a:gd name="connsiteX2" fmla="*/ 408622 w 719804"/>
                  <a:gd name="connsiteY2" fmla="*/ 861140 h 896287"/>
                  <a:gd name="connsiteX3" fmla="*/ 590169 w 719804"/>
                  <a:gd name="connsiteY3" fmla="*/ 896288 h 896287"/>
                  <a:gd name="connsiteX4" fmla="*/ 719804 w 719804"/>
                  <a:gd name="connsiteY4" fmla="*/ 366 h 896287"/>
                  <a:gd name="connsiteX5" fmla="*/ 0 w 719804"/>
                  <a:gd name="connsiteY5" fmla="*/ 782083 h 89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9804" h="896287">
                    <a:moveTo>
                      <a:pt x="0" y="782083"/>
                    </a:moveTo>
                    <a:lnTo>
                      <a:pt x="18574" y="785702"/>
                    </a:lnTo>
                    <a:lnTo>
                      <a:pt x="408622" y="861140"/>
                    </a:lnTo>
                    <a:lnTo>
                      <a:pt x="590169" y="896288"/>
                    </a:lnTo>
                    <a:lnTo>
                      <a:pt x="719804" y="366"/>
                    </a:lnTo>
                    <a:cubicBezTo>
                      <a:pt x="719804" y="271"/>
                      <a:pt x="55054" y="-40972"/>
                      <a:pt x="0" y="782083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8" name="îšľïďé"/>
              <p:cNvSpPr/>
              <p:nvPr/>
            </p:nvSpPr>
            <p:spPr>
              <a:xfrm>
                <a:off x="4439333" y="4029665"/>
                <a:ext cx="1205770" cy="2434970"/>
              </a:xfrm>
              <a:custGeom>
                <a:avLst/>
                <a:gdLst>
                  <a:gd name="connsiteX0" fmla="*/ 0 w 1205770"/>
                  <a:gd name="connsiteY0" fmla="*/ 2434971 h 2434970"/>
                  <a:gd name="connsiteX1" fmla="*/ 121920 w 1205770"/>
                  <a:gd name="connsiteY1" fmla="*/ 170783 h 2434970"/>
                  <a:gd name="connsiteX2" fmla="*/ 649796 w 1205770"/>
                  <a:gd name="connsiteY2" fmla="*/ 0 h 2434970"/>
                  <a:gd name="connsiteX3" fmla="*/ 1149954 w 1205770"/>
                  <a:gd name="connsiteY3" fmla="*/ 605123 h 2434970"/>
                  <a:gd name="connsiteX4" fmla="*/ 1205770 w 1205770"/>
                  <a:gd name="connsiteY4" fmla="*/ 2434876 h 2434970"/>
                  <a:gd name="connsiteX5" fmla="*/ 0 w 1205770"/>
                  <a:gd name="connsiteY5" fmla="*/ 2434876 h 2434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5770" h="2434970">
                    <a:moveTo>
                      <a:pt x="0" y="2434971"/>
                    </a:moveTo>
                    <a:lnTo>
                      <a:pt x="121920" y="170783"/>
                    </a:lnTo>
                    <a:cubicBezTo>
                      <a:pt x="121920" y="170783"/>
                      <a:pt x="275368" y="0"/>
                      <a:pt x="649796" y="0"/>
                    </a:cubicBezTo>
                    <a:cubicBezTo>
                      <a:pt x="1024224" y="0"/>
                      <a:pt x="1149954" y="292799"/>
                      <a:pt x="1149954" y="605123"/>
                    </a:cubicBezTo>
                    <a:cubicBezTo>
                      <a:pt x="1149954" y="917448"/>
                      <a:pt x="1205770" y="2434876"/>
                      <a:pt x="1205770" y="2434876"/>
                    </a:cubicBezTo>
                    <a:lnTo>
                      <a:pt x="0" y="2434876"/>
                    </a:ln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09" name="图形 278"/>
              <p:cNvGrpSpPr/>
              <p:nvPr/>
            </p:nvGrpSpPr>
            <p:grpSpPr>
              <a:xfrm>
                <a:off x="4754992" y="3998900"/>
                <a:ext cx="444341" cy="867441"/>
                <a:chOff x="4754992" y="3998900"/>
                <a:chExt cx="444341" cy="867441"/>
              </a:xfrm>
              <a:solidFill>
                <a:schemeClr val="accent1"/>
              </a:solidFill>
            </p:grpSpPr>
            <p:sp>
              <p:nvSpPr>
                <p:cNvPr id="236" name="íṣḷïdè"/>
                <p:cNvSpPr/>
                <p:nvPr/>
              </p:nvSpPr>
              <p:spPr>
                <a:xfrm>
                  <a:off x="4754992" y="3998900"/>
                  <a:ext cx="444341" cy="699134"/>
                </a:xfrm>
                <a:custGeom>
                  <a:avLst/>
                  <a:gdLst>
                    <a:gd name="connsiteX0" fmla="*/ 220980 w 444341"/>
                    <a:gd name="connsiteY0" fmla="*/ 0 h 699134"/>
                    <a:gd name="connsiteX1" fmla="*/ 220980 w 444341"/>
                    <a:gd name="connsiteY1" fmla="*/ 0 h 699134"/>
                    <a:gd name="connsiteX2" fmla="*/ 0 w 444341"/>
                    <a:gd name="connsiteY2" fmla="*/ 201549 h 699134"/>
                    <a:gd name="connsiteX3" fmla="*/ 223361 w 444341"/>
                    <a:gd name="connsiteY3" fmla="*/ 699135 h 699134"/>
                    <a:gd name="connsiteX4" fmla="*/ 444341 w 444341"/>
                    <a:gd name="connsiteY4" fmla="*/ 201549 h 699134"/>
                    <a:gd name="connsiteX5" fmla="*/ 220980 w 444341"/>
                    <a:gd name="connsiteY5" fmla="*/ 0 h 699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341" h="699134">
                      <a:moveTo>
                        <a:pt x="220980" y="0"/>
                      </a:moveTo>
                      <a:lnTo>
                        <a:pt x="220980" y="0"/>
                      </a:lnTo>
                      <a:cubicBezTo>
                        <a:pt x="197739" y="952"/>
                        <a:pt x="0" y="14383"/>
                        <a:pt x="0" y="201549"/>
                      </a:cubicBezTo>
                      <a:cubicBezTo>
                        <a:pt x="0" y="388525"/>
                        <a:pt x="199739" y="671798"/>
                        <a:pt x="223361" y="699135"/>
                      </a:cubicBezTo>
                      <a:cubicBezTo>
                        <a:pt x="247079" y="671893"/>
                        <a:pt x="444341" y="388525"/>
                        <a:pt x="444341" y="201549"/>
                      </a:cubicBezTo>
                      <a:cubicBezTo>
                        <a:pt x="444341" y="14383"/>
                        <a:pt x="244221" y="952"/>
                        <a:pt x="220980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7" name="íṧļídê"/>
                <p:cNvSpPr/>
                <p:nvPr/>
              </p:nvSpPr>
              <p:spPr>
                <a:xfrm>
                  <a:off x="4853480" y="4718323"/>
                  <a:ext cx="247364" cy="148018"/>
                </a:xfrm>
                <a:custGeom>
                  <a:avLst/>
                  <a:gdLst>
                    <a:gd name="connsiteX0" fmla="*/ 0 w 247364"/>
                    <a:gd name="connsiteY0" fmla="*/ 0 h 148018"/>
                    <a:gd name="connsiteX1" fmla="*/ 247364 w 247364"/>
                    <a:gd name="connsiteY1" fmla="*/ 0 h 148018"/>
                    <a:gd name="connsiteX2" fmla="*/ 247364 w 247364"/>
                    <a:gd name="connsiteY2" fmla="*/ 148018 h 148018"/>
                    <a:gd name="connsiteX3" fmla="*/ 0 w 247364"/>
                    <a:gd name="connsiteY3" fmla="*/ 148018 h 14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4" h="148018">
                      <a:moveTo>
                        <a:pt x="0" y="0"/>
                      </a:moveTo>
                      <a:lnTo>
                        <a:pt x="247364" y="0"/>
                      </a:lnTo>
                      <a:lnTo>
                        <a:pt x="247364" y="148018"/>
                      </a:lnTo>
                      <a:lnTo>
                        <a:pt x="0" y="1480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8" name="iŝlïdê"/>
                <p:cNvSpPr/>
                <p:nvPr/>
              </p:nvSpPr>
              <p:spPr>
                <a:xfrm>
                  <a:off x="4978353" y="4698035"/>
                  <a:ext cx="9525" cy="40481"/>
                </a:xfrm>
                <a:custGeom>
                  <a:avLst/>
                  <a:gdLst>
                    <a:gd name="connsiteX0" fmla="*/ 0 w 9525"/>
                    <a:gd name="connsiteY0" fmla="*/ 0 h 40481"/>
                    <a:gd name="connsiteX1" fmla="*/ 0 w 9525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0481">
                      <a:moveTo>
                        <a:pt x="0" y="0"/>
                      </a:moveTo>
                      <a:lnTo>
                        <a:pt x="0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9" name="íSļiďe"/>
                <p:cNvSpPr/>
                <p:nvPr/>
              </p:nvSpPr>
              <p:spPr>
                <a:xfrm>
                  <a:off x="4880912" y="4757471"/>
                  <a:ext cx="56197" cy="56197"/>
                </a:xfrm>
                <a:custGeom>
                  <a:avLst/>
                  <a:gdLst>
                    <a:gd name="connsiteX0" fmla="*/ 0 w 56197"/>
                    <a:gd name="connsiteY0" fmla="*/ 0 h 56197"/>
                    <a:gd name="connsiteX1" fmla="*/ 56197 w 56197"/>
                    <a:gd name="connsiteY1" fmla="*/ 0 h 56197"/>
                    <a:gd name="connsiteX2" fmla="*/ 56197 w 56197"/>
                    <a:gd name="connsiteY2" fmla="*/ 56197 h 56197"/>
                    <a:gd name="connsiteX3" fmla="*/ 0 w 56197"/>
                    <a:gd name="connsiteY3" fmla="*/ 56197 h 56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56197">
                      <a:moveTo>
                        <a:pt x="0" y="0"/>
                      </a:moveTo>
                      <a:lnTo>
                        <a:pt x="56197" y="0"/>
                      </a:lnTo>
                      <a:lnTo>
                        <a:pt x="56197" y="56197"/>
                      </a:lnTo>
                      <a:lnTo>
                        <a:pt x="0" y="56197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0" name="ïṩ1îḑe"/>
                <p:cNvSpPr/>
                <p:nvPr/>
              </p:nvSpPr>
              <p:spPr>
                <a:xfrm>
                  <a:off x="4965590" y="4757471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1" name="iṩḻiďe"/>
                <p:cNvSpPr/>
                <p:nvPr/>
              </p:nvSpPr>
              <p:spPr>
                <a:xfrm>
                  <a:off x="4965590" y="4780998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2" name="iṧ1iďé"/>
                <p:cNvSpPr/>
                <p:nvPr/>
              </p:nvSpPr>
              <p:spPr>
                <a:xfrm>
                  <a:off x="4965590" y="4804429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3" name="iŝľïḋe"/>
                <p:cNvSpPr/>
                <p:nvPr/>
              </p:nvSpPr>
              <p:spPr>
                <a:xfrm>
                  <a:off x="4965590" y="4827956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4" name="îṣḷîḍê"/>
                <p:cNvSpPr/>
                <p:nvPr/>
              </p:nvSpPr>
              <p:spPr>
                <a:xfrm>
                  <a:off x="4880912" y="4827956"/>
                  <a:ext cx="56197" cy="9144"/>
                </a:xfrm>
                <a:custGeom>
                  <a:avLst/>
                  <a:gdLst>
                    <a:gd name="connsiteX0" fmla="*/ 0 w 56197"/>
                    <a:gd name="connsiteY0" fmla="*/ 0 h 9144"/>
                    <a:gd name="connsiteX1" fmla="*/ 56197 w 56197"/>
                    <a:gd name="connsiteY1" fmla="*/ 0 h 9144"/>
                    <a:gd name="connsiteX2" fmla="*/ 56197 w 56197"/>
                    <a:gd name="connsiteY2" fmla="*/ 9144 h 9144"/>
                    <a:gd name="connsiteX3" fmla="*/ 0 w 56197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9144">
                      <a:moveTo>
                        <a:pt x="0" y="0"/>
                      </a:moveTo>
                      <a:lnTo>
                        <a:pt x="56197" y="0"/>
                      </a:lnTo>
                      <a:lnTo>
                        <a:pt x="561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0" name="isḷîďé"/>
              <p:cNvSpPr/>
              <p:nvPr/>
            </p:nvSpPr>
            <p:spPr>
              <a:xfrm>
                <a:off x="4850451" y="4638027"/>
                <a:ext cx="851496" cy="914304"/>
              </a:xfrm>
              <a:custGeom>
                <a:avLst/>
                <a:gdLst>
                  <a:gd name="connsiteX0" fmla="*/ 610629 w 851496"/>
                  <a:gd name="connsiteY0" fmla="*/ 914305 h 914304"/>
                  <a:gd name="connsiteX1" fmla="*/ 71704 w 851496"/>
                  <a:gd name="connsiteY1" fmla="*/ 914305 h 914304"/>
                  <a:gd name="connsiteX2" fmla="*/ 1696 w 851496"/>
                  <a:gd name="connsiteY2" fmla="*/ 827246 h 914304"/>
                  <a:gd name="connsiteX3" fmla="*/ 170859 w 851496"/>
                  <a:gd name="connsiteY3" fmla="*/ 56293 h 914304"/>
                  <a:gd name="connsiteX4" fmla="*/ 240868 w 851496"/>
                  <a:gd name="connsiteY4" fmla="*/ 0 h 914304"/>
                  <a:gd name="connsiteX5" fmla="*/ 779793 w 851496"/>
                  <a:gd name="connsiteY5" fmla="*/ 0 h 914304"/>
                  <a:gd name="connsiteX6" fmla="*/ 849801 w 851496"/>
                  <a:gd name="connsiteY6" fmla="*/ 87058 h 914304"/>
                  <a:gd name="connsiteX7" fmla="*/ 680637 w 851496"/>
                  <a:gd name="connsiteY7" fmla="*/ 858012 h 914304"/>
                  <a:gd name="connsiteX8" fmla="*/ 610629 w 851496"/>
                  <a:gd name="connsiteY8" fmla="*/ 914305 h 91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496" h="914304">
                    <a:moveTo>
                      <a:pt x="610629" y="914305"/>
                    </a:moveTo>
                    <a:lnTo>
                      <a:pt x="71704" y="914305"/>
                    </a:lnTo>
                    <a:cubicBezTo>
                      <a:pt x="25889" y="914305"/>
                      <a:pt x="-8115" y="871918"/>
                      <a:pt x="1696" y="827246"/>
                    </a:cubicBezTo>
                    <a:lnTo>
                      <a:pt x="170859" y="56293"/>
                    </a:lnTo>
                    <a:cubicBezTo>
                      <a:pt x="178098" y="23431"/>
                      <a:pt x="207245" y="0"/>
                      <a:pt x="240868" y="0"/>
                    </a:cubicBezTo>
                    <a:lnTo>
                      <a:pt x="779793" y="0"/>
                    </a:lnTo>
                    <a:cubicBezTo>
                      <a:pt x="825608" y="0"/>
                      <a:pt x="859612" y="42386"/>
                      <a:pt x="849801" y="87058"/>
                    </a:cubicBezTo>
                    <a:lnTo>
                      <a:pt x="680637" y="858012"/>
                    </a:lnTo>
                    <a:cubicBezTo>
                      <a:pt x="673398" y="890778"/>
                      <a:pt x="644252" y="914305"/>
                      <a:pt x="610629" y="914305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1" name="íŝlídé"/>
              <p:cNvSpPr/>
              <p:nvPr/>
            </p:nvSpPr>
            <p:spPr>
              <a:xfrm>
                <a:off x="4178322" y="4829385"/>
                <a:ext cx="896899" cy="621601"/>
              </a:xfrm>
              <a:custGeom>
                <a:avLst/>
                <a:gdLst>
                  <a:gd name="connsiteX0" fmla="*/ 319494 w 896899"/>
                  <a:gd name="connsiteY0" fmla="*/ 332899 h 621601"/>
                  <a:gd name="connsiteX1" fmla="*/ 420459 w 896899"/>
                  <a:gd name="connsiteY1" fmla="*/ 75438 h 621601"/>
                  <a:gd name="connsiteX2" fmla="*/ 30410 w 896899"/>
                  <a:gd name="connsiteY2" fmla="*/ 0 h 621601"/>
                  <a:gd name="connsiteX3" fmla="*/ 178524 w 896899"/>
                  <a:gd name="connsiteY3" fmla="*/ 621601 h 621601"/>
                  <a:gd name="connsiteX4" fmla="*/ 896900 w 896899"/>
                  <a:gd name="connsiteY4" fmla="*/ 574643 h 621601"/>
                  <a:gd name="connsiteX5" fmla="*/ 896900 w 896899"/>
                  <a:gd name="connsiteY5" fmla="*/ 393383 h 621601"/>
                  <a:gd name="connsiteX6" fmla="*/ 319494 w 896899"/>
                  <a:gd name="connsiteY6" fmla="*/ 332899 h 6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899" h="621601">
                    <a:moveTo>
                      <a:pt x="319494" y="332899"/>
                    </a:moveTo>
                    <a:cubicBezTo>
                      <a:pt x="319494" y="332899"/>
                      <a:pt x="362643" y="228219"/>
                      <a:pt x="420459" y="75438"/>
                    </a:cubicBezTo>
                    <a:lnTo>
                      <a:pt x="30410" y="0"/>
                    </a:lnTo>
                    <a:cubicBezTo>
                      <a:pt x="-37884" y="502253"/>
                      <a:pt x="7741" y="621601"/>
                      <a:pt x="178524" y="621601"/>
                    </a:cubicBezTo>
                    <a:cubicBezTo>
                      <a:pt x="359785" y="621601"/>
                      <a:pt x="896900" y="574643"/>
                      <a:pt x="896900" y="574643"/>
                    </a:cubicBezTo>
                    <a:lnTo>
                      <a:pt x="896900" y="393383"/>
                    </a:lnTo>
                    <a:lnTo>
                      <a:pt x="319494" y="332899"/>
                    </a:ln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12" name="图形 278"/>
              <p:cNvGrpSpPr/>
              <p:nvPr/>
            </p:nvGrpSpPr>
            <p:grpSpPr>
              <a:xfrm>
                <a:off x="4664028" y="3283858"/>
                <a:ext cx="559879" cy="962691"/>
                <a:chOff x="4664028" y="3283858"/>
                <a:chExt cx="559879" cy="962691"/>
              </a:xfrm>
              <a:solidFill>
                <a:schemeClr val="accent1"/>
              </a:solidFill>
            </p:grpSpPr>
            <p:sp>
              <p:nvSpPr>
                <p:cNvPr id="222" name="ïsḷiḑè"/>
                <p:cNvSpPr/>
                <p:nvPr/>
              </p:nvSpPr>
              <p:spPr>
                <a:xfrm>
                  <a:off x="4832811" y="3854596"/>
                  <a:ext cx="288703" cy="391953"/>
                </a:xfrm>
                <a:custGeom>
                  <a:avLst/>
                  <a:gdLst>
                    <a:gd name="connsiteX0" fmla="*/ 144304 w 288703"/>
                    <a:gd name="connsiteY0" fmla="*/ 391954 h 391953"/>
                    <a:gd name="connsiteX1" fmla="*/ 144304 w 288703"/>
                    <a:gd name="connsiteY1" fmla="*/ 391954 h 391953"/>
                    <a:gd name="connsiteX2" fmla="*/ 0 w 288703"/>
                    <a:gd name="connsiteY2" fmla="*/ 247650 h 391953"/>
                    <a:gd name="connsiteX3" fmla="*/ 0 w 288703"/>
                    <a:gd name="connsiteY3" fmla="*/ 0 h 391953"/>
                    <a:gd name="connsiteX4" fmla="*/ 288703 w 288703"/>
                    <a:gd name="connsiteY4" fmla="*/ 0 h 391953"/>
                    <a:gd name="connsiteX5" fmla="*/ 288703 w 288703"/>
                    <a:gd name="connsiteY5" fmla="*/ 247650 h 391953"/>
                    <a:gd name="connsiteX6" fmla="*/ 144304 w 288703"/>
                    <a:gd name="connsiteY6" fmla="*/ 391954 h 39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8703" h="391953">
                      <a:moveTo>
                        <a:pt x="144304" y="391954"/>
                      </a:moveTo>
                      <a:lnTo>
                        <a:pt x="144304" y="391954"/>
                      </a:lnTo>
                      <a:cubicBezTo>
                        <a:pt x="64580" y="391954"/>
                        <a:pt x="0" y="327374"/>
                        <a:pt x="0" y="247650"/>
                      </a:cubicBezTo>
                      <a:lnTo>
                        <a:pt x="0" y="0"/>
                      </a:lnTo>
                      <a:lnTo>
                        <a:pt x="288703" y="0"/>
                      </a:lnTo>
                      <a:lnTo>
                        <a:pt x="288703" y="247650"/>
                      </a:lnTo>
                      <a:cubicBezTo>
                        <a:pt x="288703" y="327279"/>
                        <a:pt x="224028" y="391954"/>
                        <a:pt x="144304" y="391954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3" name="ïṩlide"/>
                <p:cNvSpPr/>
                <p:nvPr/>
              </p:nvSpPr>
              <p:spPr>
                <a:xfrm>
                  <a:off x="4733846" y="3283858"/>
                  <a:ext cx="490061" cy="663511"/>
                </a:xfrm>
                <a:custGeom>
                  <a:avLst/>
                  <a:gdLst>
                    <a:gd name="connsiteX0" fmla="*/ 490061 w 490061"/>
                    <a:gd name="connsiteY0" fmla="*/ 376523 h 663511"/>
                    <a:gd name="connsiteX1" fmla="*/ 268510 w 490061"/>
                    <a:gd name="connsiteY1" fmla="*/ 663512 h 663511"/>
                    <a:gd name="connsiteX2" fmla="*/ 0 w 490061"/>
                    <a:gd name="connsiteY2" fmla="*/ 376523 h 663511"/>
                    <a:gd name="connsiteX3" fmla="*/ 245078 w 490061"/>
                    <a:gd name="connsiteY3" fmla="*/ 0 h 663511"/>
                    <a:gd name="connsiteX4" fmla="*/ 490061 w 490061"/>
                    <a:gd name="connsiteY4" fmla="*/ 376523 h 663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061" h="663511">
                      <a:moveTo>
                        <a:pt x="490061" y="376523"/>
                      </a:moveTo>
                      <a:cubicBezTo>
                        <a:pt x="490061" y="560070"/>
                        <a:pt x="403860" y="663512"/>
                        <a:pt x="268510" y="663512"/>
                      </a:cubicBezTo>
                      <a:cubicBezTo>
                        <a:pt x="133160" y="663512"/>
                        <a:pt x="0" y="560070"/>
                        <a:pt x="0" y="376523"/>
                      </a:cubicBezTo>
                      <a:cubicBezTo>
                        <a:pt x="0" y="192977"/>
                        <a:pt x="0" y="0"/>
                        <a:pt x="245078" y="0"/>
                      </a:cubicBezTo>
                      <a:cubicBezTo>
                        <a:pt x="490061" y="0"/>
                        <a:pt x="490061" y="192977"/>
                        <a:pt x="490061" y="37652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4" name="îşliďê"/>
                <p:cNvSpPr/>
                <p:nvPr/>
              </p:nvSpPr>
              <p:spPr>
                <a:xfrm>
                  <a:off x="4664028" y="3577744"/>
                  <a:ext cx="95154" cy="171505"/>
                </a:xfrm>
                <a:custGeom>
                  <a:avLst/>
                  <a:gdLst>
                    <a:gd name="connsiteX0" fmla="*/ 0 w 95154"/>
                    <a:gd name="connsiteY0" fmla="*/ 67778 h 171505"/>
                    <a:gd name="connsiteX1" fmla="*/ 95155 w 95154"/>
                    <a:gd name="connsiteY1" fmla="*/ 171505 h 171505"/>
                    <a:gd name="connsiteX2" fmla="*/ 95155 w 95154"/>
                    <a:gd name="connsiteY2" fmla="*/ 5484 h 171505"/>
                    <a:gd name="connsiteX3" fmla="*/ 0 w 95154"/>
                    <a:gd name="connsiteY3" fmla="*/ 67778 h 171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154" h="171505">
                      <a:moveTo>
                        <a:pt x="0" y="67778"/>
                      </a:moveTo>
                      <a:cubicBezTo>
                        <a:pt x="0" y="162933"/>
                        <a:pt x="95155" y="171505"/>
                        <a:pt x="95155" y="171505"/>
                      </a:cubicBezTo>
                      <a:lnTo>
                        <a:pt x="95155" y="5484"/>
                      </a:lnTo>
                      <a:cubicBezTo>
                        <a:pt x="95155" y="5484"/>
                        <a:pt x="0" y="-27377"/>
                        <a:pt x="0" y="6777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5" name="íŝ1iďê"/>
                <p:cNvSpPr/>
                <p:nvPr/>
              </p:nvSpPr>
              <p:spPr>
                <a:xfrm>
                  <a:off x="4696032" y="3617389"/>
                  <a:ext cx="45815" cy="92236"/>
                </a:xfrm>
                <a:custGeom>
                  <a:avLst/>
                  <a:gdLst>
                    <a:gd name="connsiteX0" fmla="*/ 0 w 45815"/>
                    <a:gd name="connsiteY0" fmla="*/ 36420 h 92236"/>
                    <a:gd name="connsiteX1" fmla="*/ 45815 w 45815"/>
                    <a:gd name="connsiteY1" fmla="*/ 92236 h 92236"/>
                    <a:gd name="connsiteX2" fmla="*/ 45815 w 45815"/>
                    <a:gd name="connsiteY2" fmla="*/ 2892 h 92236"/>
                    <a:gd name="connsiteX3" fmla="*/ 0 w 45815"/>
                    <a:gd name="connsiteY3" fmla="*/ 36420 h 92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815" h="92236">
                      <a:moveTo>
                        <a:pt x="0" y="36420"/>
                      </a:moveTo>
                      <a:cubicBezTo>
                        <a:pt x="0" y="87569"/>
                        <a:pt x="45815" y="92236"/>
                        <a:pt x="45815" y="92236"/>
                      </a:cubicBezTo>
                      <a:lnTo>
                        <a:pt x="45815" y="2892"/>
                      </a:lnTo>
                      <a:cubicBezTo>
                        <a:pt x="45815" y="2987"/>
                        <a:pt x="0" y="-14730"/>
                        <a:pt x="0" y="3642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6" name="íṥḻíḓe"/>
                <p:cNvSpPr/>
                <p:nvPr/>
              </p:nvSpPr>
              <p:spPr>
                <a:xfrm>
                  <a:off x="4853861" y="3575799"/>
                  <a:ext cx="66484" cy="49530"/>
                </a:xfrm>
                <a:custGeom>
                  <a:avLst/>
                  <a:gdLst>
                    <a:gd name="connsiteX0" fmla="*/ 66484 w 66484"/>
                    <a:gd name="connsiteY0" fmla="*/ 24765 h 49530"/>
                    <a:gd name="connsiteX1" fmla="*/ 33242 w 66484"/>
                    <a:gd name="connsiteY1" fmla="*/ 49530 h 49530"/>
                    <a:gd name="connsiteX2" fmla="*/ 0 w 66484"/>
                    <a:gd name="connsiteY2" fmla="*/ 24765 h 49530"/>
                    <a:gd name="connsiteX3" fmla="*/ 33242 w 66484"/>
                    <a:gd name="connsiteY3" fmla="*/ 0 h 49530"/>
                    <a:gd name="connsiteX4" fmla="*/ 66484 w 66484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30">
                      <a:moveTo>
                        <a:pt x="66484" y="24765"/>
                      </a:moveTo>
                      <a:cubicBezTo>
                        <a:pt x="66484" y="38442"/>
                        <a:pt x="51601" y="49530"/>
                        <a:pt x="33242" y="49530"/>
                      </a:cubicBezTo>
                      <a:cubicBezTo>
                        <a:pt x="14883" y="49530"/>
                        <a:pt x="0" y="38442"/>
                        <a:pt x="0" y="24765"/>
                      </a:cubicBezTo>
                      <a:cubicBezTo>
                        <a:pt x="0" y="11088"/>
                        <a:pt x="14883" y="0"/>
                        <a:pt x="33242" y="0"/>
                      </a:cubicBezTo>
                      <a:cubicBezTo>
                        <a:pt x="51601" y="0"/>
                        <a:pt x="66484" y="11088"/>
                        <a:pt x="66484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7" name="íṧļïde"/>
                <p:cNvSpPr/>
                <p:nvPr/>
              </p:nvSpPr>
              <p:spPr>
                <a:xfrm>
                  <a:off x="5088272" y="3575799"/>
                  <a:ext cx="66484" cy="49530"/>
                </a:xfrm>
                <a:custGeom>
                  <a:avLst/>
                  <a:gdLst>
                    <a:gd name="connsiteX0" fmla="*/ 66485 w 66484"/>
                    <a:gd name="connsiteY0" fmla="*/ 24765 h 49530"/>
                    <a:gd name="connsiteX1" fmla="*/ 33242 w 66484"/>
                    <a:gd name="connsiteY1" fmla="*/ 49530 h 49530"/>
                    <a:gd name="connsiteX2" fmla="*/ 0 w 66484"/>
                    <a:gd name="connsiteY2" fmla="*/ 24765 h 49530"/>
                    <a:gd name="connsiteX3" fmla="*/ 33242 w 66484"/>
                    <a:gd name="connsiteY3" fmla="*/ 0 h 49530"/>
                    <a:gd name="connsiteX4" fmla="*/ 66485 w 66484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30">
                      <a:moveTo>
                        <a:pt x="66485" y="24765"/>
                      </a:moveTo>
                      <a:cubicBezTo>
                        <a:pt x="66485" y="38442"/>
                        <a:pt x="51601" y="49530"/>
                        <a:pt x="33242" y="49530"/>
                      </a:cubicBezTo>
                      <a:cubicBezTo>
                        <a:pt x="14883" y="49530"/>
                        <a:pt x="0" y="38442"/>
                        <a:pt x="0" y="24765"/>
                      </a:cubicBezTo>
                      <a:cubicBezTo>
                        <a:pt x="0" y="11088"/>
                        <a:pt x="14883" y="0"/>
                        <a:pt x="33242" y="0"/>
                      </a:cubicBezTo>
                      <a:cubicBezTo>
                        <a:pt x="51601" y="0"/>
                        <a:pt x="66485" y="11088"/>
                        <a:pt x="66485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8" name="íṩ1îḓê"/>
                <p:cNvSpPr/>
                <p:nvPr/>
              </p:nvSpPr>
              <p:spPr>
                <a:xfrm>
                  <a:off x="4878150" y="3580752"/>
                  <a:ext cx="39624" cy="39623"/>
                </a:xfrm>
                <a:custGeom>
                  <a:avLst/>
                  <a:gdLst>
                    <a:gd name="connsiteX0" fmla="*/ 0 w 39624"/>
                    <a:gd name="connsiteY0" fmla="*/ 19812 h 39623"/>
                    <a:gd name="connsiteX1" fmla="*/ 19812 w 39624"/>
                    <a:gd name="connsiteY1" fmla="*/ 39624 h 39623"/>
                    <a:gd name="connsiteX2" fmla="*/ 39624 w 39624"/>
                    <a:gd name="connsiteY2" fmla="*/ 19812 h 39623"/>
                    <a:gd name="connsiteX3" fmla="*/ 19812 w 39624"/>
                    <a:gd name="connsiteY3" fmla="*/ 0 h 39623"/>
                    <a:gd name="connsiteX4" fmla="*/ 0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0" y="19812"/>
                      </a:moveTo>
                      <a:cubicBezTo>
                        <a:pt x="0" y="30766"/>
                        <a:pt x="8858" y="39624"/>
                        <a:pt x="19812" y="39624"/>
                      </a:cubicBezTo>
                      <a:cubicBezTo>
                        <a:pt x="30766" y="39624"/>
                        <a:pt x="39624" y="30766"/>
                        <a:pt x="39624" y="19812"/>
                      </a:cubicBezTo>
                      <a:cubicBezTo>
                        <a:pt x="39624" y="8858"/>
                        <a:pt x="30766" y="0"/>
                        <a:pt x="19812" y="0"/>
                      </a:cubicBezTo>
                      <a:cubicBezTo>
                        <a:pt x="8858" y="0"/>
                        <a:pt x="0" y="8858"/>
                        <a:pt x="0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9" name="îS1îdê"/>
                <p:cNvSpPr/>
                <p:nvPr/>
              </p:nvSpPr>
              <p:spPr>
                <a:xfrm>
                  <a:off x="5112560" y="3580752"/>
                  <a:ext cx="39624" cy="39623"/>
                </a:xfrm>
                <a:custGeom>
                  <a:avLst/>
                  <a:gdLst>
                    <a:gd name="connsiteX0" fmla="*/ 0 w 39624"/>
                    <a:gd name="connsiteY0" fmla="*/ 19812 h 39623"/>
                    <a:gd name="connsiteX1" fmla="*/ 19812 w 39624"/>
                    <a:gd name="connsiteY1" fmla="*/ 39624 h 39623"/>
                    <a:gd name="connsiteX2" fmla="*/ 39624 w 39624"/>
                    <a:gd name="connsiteY2" fmla="*/ 19812 h 39623"/>
                    <a:gd name="connsiteX3" fmla="*/ 19812 w 39624"/>
                    <a:gd name="connsiteY3" fmla="*/ 0 h 39623"/>
                    <a:gd name="connsiteX4" fmla="*/ 0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0" y="19812"/>
                      </a:moveTo>
                      <a:cubicBezTo>
                        <a:pt x="0" y="30766"/>
                        <a:pt x="8858" y="39624"/>
                        <a:pt x="19812" y="39624"/>
                      </a:cubicBezTo>
                      <a:cubicBezTo>
                        <a:pt x="30766" y="39624"/>
                        <a:pt x="39624" y="30766"/>
                        <a:pt x="39624" y="19812"/>
                      </a:cubicBezTo>
                      <a:cubicBezTo>
                        <a:pt x="39624" y="8858"/>
                        <a:pt x="30766" y="0"/>
                        <a:pt x="19812" y="0"/>
                      </a:cubicBezTo>
                      <a:cubicBezTo>
                        <a:pt x="8858" y="0"/>
                        <a:pt x="0" y="8858"/>
                        <a:pt x="0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0" name="íśḷídè"/>
                <p:cNvSpPr/>
                <p:nvPr/>
              </p:nvSpPr>
              <p:spPr>
                <a:xfrm>
                  <a:off x="5002356" y="3617423"/>
                  <a:ext cx="46990" cy="131921"/>
                </a:xfrm>
                <a:custGeom>
                  <a:avLst/>
                  <a:gdLst>
                    <a:gd name="connsiteX0" fmla="*/ 0 w 46990"/>
                    <a:gd name="connsiteY0" fmla="*/ 0 h 131921"/>
                    <a:gd name="connsiteX1" fmla="*/ 0 w 46990"/>
                    <a:gd name="connsiteY1" fmla="*/ 131921 h 131921"/>
                    <a:gd name="connsiteX2" fmla="*/ 0 w 46990"/>
                    <a:gd name="connsiteY2" fmla="*/ 0 h 131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90" h="131921">
                      <a:moveTo>
                        <a:pt x="0" y="0"/>
                      </a:moveTo>
                      <a:lnTo>
                        <a:pt x="0" y="131921"/>
                      </a:lnTo>
                      <a:cubicBezTo>
                        <a:pt x="105728" y="13182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1" name="îṧ1ïḓe"/>
                <p:cNvSpPr/>
                <p:nvPr/>
              </p:nvSpPr>
              <p:spPr>
                <a:xfrm>
                  <a:off x="4945301" y="3791255"/>
                  <a:ext cx="114109" cy="25357"/>
                </a:xfrm>
                <a:custGeom>
                  <a:avLst/>
                  <a:gdLst>
                    <a:gd name="connsiteX0" fmla="*/ 114109 w 114109"/>
                    <a:gd name="connsiteY0" fmla="*/ 0 h 25357"/>
                    <a:gd name="connsiteX1" fmla="*/ 0 w 114109"/>
                    <a:gd name="connsiteY1" fmla="*/ 0 h 25357"/>
                    <a:gd name="connsiteX2" fmla="*/ 114109 w 114109"/>
                    <a:gd name="connsiteY2" fmla="*/ 0 h 2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109" h="25357">
                      <a:moveTo>
                        <a:pt x="114109" y="0"/>
                      </a:moveTo>
                      <a:cubicBezTo>
                        <a:pt x="57055" y="57055"/>
                        <a:pt x="0" y="0"/>
                        <a:pt x="0" y="0"/>
                      </a:cubicBezTo>
                      <a:lnTo>
                        <a:pt x="11410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2" name="íṡḷiḑè"/>
                <p:cNvSpPr/>
                <p:nvPr/>
              </p:nvSpPr>
              <p:spPr>
                <a:xfrm>
                  <a:off x="4850623" y="355006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3" name="îṧḻiḓé"/>
                <p:cNvSpPr/>
                <p:nvPr/>
              </p:nvSpPr>
              <p:spPr>
                <a:xfrm>
                  <a:off x="5085033" y="355006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4" name="ïš1iḑê"/>
                <p:cNvSpPr/>
                <p:nvPr/>
              </p:nvSpPr>
              <p:spPr>
                <a:xfrm>
                  <a:off x="4770899" y="3650475"/>
                  <a:ext cx="140779" cy="140779"/>
                </a:xfrm>
                <a:custGeom>
                  <a:avLst/>
                  <a:gdLst>
                    <a:gd name="connsiteX0" fmla="*/ 140780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80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80" y="70390"/>
                      </a:moveTo>
                      <a:cubicBezTo>
                        <a:pt x="140780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5" y="0"/>
                        <a:pt x="70390" y="0"/>
                      </a:cubicBezTo>
                      <a:cubicBezTo>
                        <a:pt x="109265" y="0"/>
                        <a:pt x="140780" y="31515"/>
                        <a:pt x="140780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5" name="ïšļiďè"/>
                <p:cNvSpPr/>
                <p:nvPr/>
              </p:nvSpPr>
              <p:spPr>
                <a:xfrm>
                  <a:off x="5101702" y="3650475"/>
                  <a:ext cx="121920" cy="140779"/>
                </a:xfrm>
                <a:custGeom>
                  <a:avLst/>
                  <a:gdLst>
                    <a:gd name="connsiteX0" fmla="*/ 70390 w 121920"/>
                    <a:gd name="connsiteY0" fmla="*/ 0 h 140779"/>
                    <a:gd name="connsiteX1" fmla="*/ 0 w 121920"/>
                    <a:gd name="connsiteY1" fmla="*/ 70390 h 140779"/>
                    <a:gd name="connsiteX2" fmla="*/ 70390 w 121920"/>
                    <a:gd name="connsiteY2" fmla="*/ 140779 h 140779"/>
                    <a:gd name="connsiteX3" fmla="*/ 107156 w 121920"/>
                    <a:gd name="connsiteY3" fmla="*/ 130207 h 140779"/>
                    <a:gd name="connsiteX4" fmla="*/ 121920 w 121920"/>
                    <a:gd name="connsiteY4" fmla="*/ 22574 h 140779"/>
                    <a:gd name="connsiteX5" fmla="*/ 70390 w 121920"/>
                    <a:gd name="connsiteY5" fmla="*/ 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1920" h="140779">
                      <a:moveTo>
                        <a:pt x="70390" y="0"/>
                      </a:moveTo>
                      <a:cubicBezTo>
                        <a:pt x="31528" y="0"/>
                        <a:pt x="0" y="31528"/>
                        <a:pt x="0" y="70390"/>
                      </a:cubicBezTo>
                      <a:cubicBezTo>
                        <a:pt x="0" y="109252"/>
                        <a:pt x="31528" y="140779"/>
                        <a:pt x="70390" y="140779"/>
                      </a:cubicBezTo>
                      <a:cubicBezTo>
                        <a:pt x="83915" y="140779"/>
                        <a:pt x="96393" y="136779"/>
                        <a:pt x="107156" y="130207"/>
                      </a:cubicBezTo>
                      <a:cubicBezTo>
                        <a:pt x="116014" y="98489"/>
                        <a:pt x="120968" y="62484"/>
                        <a:pt x="121920" y="22574"/>
                      </a:cubicBezTo>
                      <a:cubicBezTo>
                        <a:pt x="108966" y="8763"/>
                        <a:pt x="90773" y="0"/>
                        <a:pt x="70390" y="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3" name="ísḷiḋe"/>
              <p:cNvSpPr/>
              <p:nvPr/>
            </p:nvSpPr>
            <p:spPr>
              <a:xfrm>
                <a:off x="5023025" y="5158829"/>
                <a:ext cx="401734" cy="250437"/>
              </a:xfrm>
              <a:custGeom>
                <a:avLst/>
                <a:gdLst>
                  <a:gd name="connsiteX0" fmla="*/ 22098 w 401734"/>
                  <a:gd name="connsiteY0" fmla="*/ 74320 h 250437"/>
                  <a:gd name="connsiteX1" fmla="*/ 286703 w 401734"/>
                  <a:gd name="connsiteY1" fmla="*/ 7169 h 250437"/>
                  <a:gd name="connsiteX2" fmla="*/ 231267 w 401734"/>
                  <a:gd name="connsiteY2" fmla="*/ 62509 h 250437"/>
                  <a:gd name="connsiteX3" fmla="*/ 401669 w 401734"/>
                  <a:gd name="connsiteY3" fmla="*/ 83940 h 250437"/>
                  <a:gd name="connsiteX4" fmla="*/ 352616 w 401734"/>
                  <a:gd name="connsiteY4" fmla="*/ 115849 h 250437"/>
                  <a:gd name="connsiteX5" fmla="*/ 369951 w 401734"/>
                  <a:gd name="connsiteY5" fmla="*/ 135090 h 250437"/>
                  <a:gd name="connsiteX6" fmla="*/ 335471 w 401734"/>
                  <a:gd name="connsiteY6" fmla="*/ 159759 h 250437"/>
                  <a:gd name="connsiteX7" fmla="*/ 310229 w 401734"/>
                  <a:gd name="connsiteY7" fmla="*/ 194430 h 250437"/>
                  <a:gd name="connsiteX8" fmla="*/ 255270 w 401734"/>
                  <a:gd name="connsiteY8" fmla="*/ 235007 h 250437"/>
                  <a:gd name="connsiteX9" fmla="*/ 0 w 401734"/>
                  <a:gd name="connsiteY9" fmla="*/ 250437 h 2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1734" h="250437">
                    <a:moveTo>
                      <a:pt x="22098" y="74320"/>
                    </a:moveTo>
                    <a:cubicBezTo>
                      <a:pt x="22098" y="74320"/>
                      <a:pt x="259937" y="-27407"/>
                      <a:pt x="286703" y="7169"/>
                    </a:cubicBezTo>
                    <a:cubicBezTo>
                      <a:pt x="313563" y="41745"/>
                      <a:pt x="231267" y="62509"/>
                      <a:pt x="231267" y="62509"/>
                    </a:cubicBezTo>
                    <a:cubicBezTo>
                      <a:pt x="231267" y="62509"/>
                      <a:pt x="405574" y="53175"/>
                      <a:pt x="401669" y="83940"/>
                    </a:cubicBezTo>
                    <a:cubicBezTo>
                      <a:pt x="397859" y="114611"/>
                      <a:pt x="352616" y="115849"/>
                      <a:pt x="352616" y="115849"/>
                    </a:cubicBezTo>
                    <a:cubicBezTo>
                      <a:pt x="352616" y="115849"/>
                      <a:pt x="371951" y="119183"/>
                      <a:pt x="369951" y="135090"/>
                    </a:cubicBezTo>
                    <a:cubicBezTo>
                      <a:pt x="367951" y="150901"/>
                      <a:pt x="335947" y="155759"/>
                      <a:pt x="335471" y="159759"/>
                    </a:cubicBezTo>
                    <a:cubicBezTo>
                      <a:pt x="365665" y="169189"/>
                      <a:pt x="347472" y="199098"/>
                      <a:pt x="310229" y="194430"/>
                    </a:cubicBezTo>
                    <a:cubicBezTo>
                      <a:pt x="339757" y="215862"/>
                      <a:pt x="309563" y="232149"/>
                      <a:pt x="255270" y="235007"/>
                    </a:cubicBezTo>
                    <a:cubicBezTo>
                      <a:pt x="200978" y="237864"/>
                      <a:pt x="0" y="250437"/>
                      <a:pt x="0" y="250437"/>
                    </a:cubicBezTo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4" name="ïṥḷïḋè"/>
              <p:cNvSpPr/>
              <p:nvPr/>
            </p:nvSpPr>
            <p:spPr>
              <a:xfrm>
                <a:off x="5363151" y="4868778"/>
                <a:ext cx="375147" cy="265220"/>
              </a:xfrm>
              <a:custGeom>
                <a:avLst/>
                <a:gdLst>
                  <a:gd name="connsiteX0" fmla="*/ 12 w 375147"/>
                  <a:gd name="connsiteY0" fmla="*/ 62619 h 265220"/>
                  <a:gd name="connsiteX1" fmla="*/ 171748 w 375147"/>
                  <a:gd name="connsiteY1" fmla="*/ 67477 h 265220"/>
                  <a:gd name="connsiteX2" fmla="*/ 125457 w 375147"/>
                  <a:gd name="connsiteY2" fmla="*/ 4326 h 265220"/>
                  <a:gd name="connsiteX3" fmla="*/ 325576 w 375147"/>
                  <a:gd name="connsiteY3" fmla="*/ 80622 h 265220"/>
                  <a:gd name="connsiteX4" fmla="*/ 375107 w 375147"/>
                  <a:gd name="connsiteY4" fmla="*/ 169109 h 265220"/>
                  <a:gd name="connsiteX5" fmla="*/ 375107 w 375147"/>
                  <a:gd name="connsiteY5" fmla="*/ 169109 h 265220"/>
                  <a:gd name="connsiteX6" fmla="*/ 255282 w 375147"/>
                  <a:gd name="connsiteY6" fmla="*/ 262930 h 265220"/>
                  <a:gd name="connsiteX7" fmla="*/ 121742 w 375147"/>
                  <a:gd name="connsiteY7" fmla="*/ 234165 h 265220"/>
                  <a:gd name="connsiteX8" fmla="*/ 73545 w 375147"/>
                  <a:gd name="connsiteY8" fmla="*/ 185682 h 265220"/>
                  <a:gd name="connsiteX9" fmla="*/ 53828 w 375147"/>
                  <a:gd name="connsiteY9" fmla="*/ 147582 h 265220"/>
                  <a:gd name="connsiteX10" fmla="*/ 23539 w 375147"/>
                  <a:gd name="connsiteY10" fmla="*/ 117960 h 265220"/>
                  <a:gd name="connsiteX11" fmla="*/ 43541 w 375147"/>
                  <a:gd name="connsiteY11" fmla="*/ 101672 h 265220"/>
                  <a:gd name="connsiteX12" fmla="*/ 12 w 375147"/>
                  <a:gd name="connsiteY12" fmla="*/ 62619 h 26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147" h="265220">
                    <a:moveTo>
                      <a:pt x="12" y="62619"/>
                    </a:moveTo>
                    <a:cubicBezTo>
                      <a:pt x="869" y="31758"/>
                      <a:pt x="171748" y="67477"/>
                      <a:pt x="171748" y="67477"/>
                    </a:cubicBezTo>
                    <a:cubicBezTo>
                      <a:pt x="171748" y="67477"/>
                      <a:pt x="93643" y="34330"/>
                      <a:pt x="125457" y="4326"/>
                    </a:cubicBezTo>
                    <a:cubicBezTo>
                      <a:pt x="147364" y="-16438"/>
                      <a:pt x="258711" y="42236"/>
                      <a:pt x="325576" y="80622"/>
                    </a:cubicBezTo>
                    <a:cubicBezTo>
                      <a:pt x="357199" y="98719"/>
                      <a:pt x="376155" y="132723"/>
                      <a:pt x="375107" y="169109"/>
                    </a:cubicBezTo>
                    <a:lnTo>
                      <a:pt x="375107" y="169109"/>
                    </a:lnTo>
                    <a:cubicBezTo>
                      <a:pt x="373392" y="231021"/>
                      <a:pt x="315861" y="276075"/>
                      <a:pt x="255282" y="262930"/>
                    </a:cubicBezTo>
                    <a:cubicBezTo>
                      <a:pt x="202609" y="251500"/>
                      <a:pt x="146602" y="239308"/>
                      <a:pt x="121742" y="234165"/>
                    </a:cubicBezTo>
                    <a:cubicBezTo>
                      <a:pt x="68497" y="223116"/>
                      <a:pt x="41160" y="202351"/>
                      <a:pt x="73545" y="185682"/>
                    </a:cubicBezTo>
                    <a:cubicBezTo>
                      <a:pt x="36017" y="184635"/>
                      <a:pt x="22586" y="152250"/>
                      <a:pt x="53828" y="147582"/>
                    </a:cubicBezTo>
                    <a:cubicBezTo>
                      <a:pt x="53924" y="143582"/>
                      <a:pt x="23063" y="133962"/>
                      <a:pt x="23539" y="117960"/>
                    </a:cubicBezTo>
                    <a:cubicBezTo>
                      <a:pt x="24015" y="101958"/>
                      <a:pt x="43541" y="101672"/>
                      <a:pt x="43541" y="101672"/>
                    </a:cubicBezTo>
                    <a:cubicBezTo>
                      <a:pt x="43541" y="101672"/>
                      <a:pt x="-845" y="93480"/>
                      <a:pt x="12" y="62619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5" name="iṩľïďe"/>
              <p:cNvSpPr/>
              <p:nvPr/>
            </p:nvSpPr>
            <p:spPr>
              <a:xfrm>
                <a:off x="4822261" y="4068242"/>
                <a:ext cx="309657" cy="377570"/>
              </a:xfrm>
              <a:custGeom>
                <a:avLst/>
                <a:gdLst>
                  <a:gd name="connsiteX0" fmla="*/ 9978 w 309657"/>
                  <a:gd name="connsiteY0" fmla="*/ 0 h 377570"/>
                  <a:gd name="connsiteX1" fmla="*/ 152853 w 309657"/>
                  <a:gd name="connsiteY1" fmla="*/ 147066 h 377570"/>
                  <a:gd name="connsiteX2" fmla="*/ 299253 w 309657"/>
                  <a:gd name="connsiteY2" fmla="*/ 0 h 377570"/>
                  <a:gd name="connsiteX3" fmla="*/ 152853 w 309657"/>
                  <a:gd name="connsiteY3" fmla="*/ 377571 h 377570"/>
                  <a:gd name="connsiteX4" fmla="*/ 9978 w 309657"/>
                  <a:gd name="connsiteY4" fmla="*/ 0 h 37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57" h="377570">
                    <a:moveTo>
                      <a:pt x="9978" y="0"/>
                    </a:moveTo>
                    <a:cubicBezTo>
                      <a:pt x="9978" y="0"/>
                      <a:pt x="44649" y="147066"/>
                      <a:pt x="152853" y="147066"/>
                    </a:cubicBezTo>
                    <a:cubicBezTo>
                      <a:pt x="261057" y="147066"/>
                      <a:pt x="299253" y="0"/>
                      <a:pt x="299253" y="0"/>
                    </a:cubicBezTo>
                    <a:cubicBezTo>
                      <a:pt x="299253" y="0"/>
                      <a:pt x="367832" y="162592"/>
                      <a:pt x="152853" y="377571"/>
                    </a:cubicBezTo>
                    <a:cubicBezTo>
                      <a:pt x="-56316" y="164592"/>
                      <a:pt x="9978" y="0"/>
                      <a:pt x="9978" y="0"/>
                    </a:cubicBez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iṡļiḍe"/>
              <p:cNvSpPr/>
              <p:nvPr/>
            </p:nvSpPr>
            <p:spPr>
              <a:xfrm>
                <a:off x="4516581" y="5904376"/>
                <a:ext cx="283368" cy="283654"/>
              </a:xfrm>
              <a:custGeom>
                <a:avLst/>
                <a:gdLst>
                  <a:gd name="connsiteX0" fmla="*/ 0 w 283368"/>
                  <a:gd name="connsiteY0" fmla="*/ 212503 h 283654"/>
                  <a:gd name="connsiteX1" fmla="*/ 212598 w 283368"/>
                  <a:gd name="connsiteY1" fmla="*/ 0 h 283654"/>
                  <a:gd name="connsiteX2" fmla="*/ 283369 w 283368"/>
                  <a:gd name="connsiteY2" fmla="*/ 70771 h 283654"/>
                  <a:gd name="connsiteX3" fmla="*/ 70485 w 283368"/>
                  <a:gd name="connsiteY3" fmla="*/ 283655 h 28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368" h="283654">
                    <a:moveTo>
                      <a:pt x="0" y="212503"/>
                    </a:moveTo>
                    <a:lnTo>
                      <a:pt x="212598" y="0"/>
                    </a:lnTo>
                    <a:lnTo>
                      <a:pt x="283369" y="70771"/>
                    </a:lnTo>
                    <a:lnTo>
                      <a:pt x="70485" y="283655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íślíďê"/>
              <p:cNvSpPr/>
              <p:nvPr/>
            </p:nvSpPr>
            <p:spPr>
              <a:xfrm>
                <a:off x="5305822" y="5904376"/>
                <a:ext cx="283464" cy="283654"/>
              </a:xfrm>
              <a:custGeom>
                <a:avLst/>
                <a:gdLst>
                  <a:gd name="connsiteX0" fmla="*/ 283464 w 283464"/>
                  <a:gd name="connsiteY0" fmla="*/ 212503 h 283654"/>
                  <a:gd name="connsiteX1" fmla="*/ 70866 w 283464"/>
                  <a:gd name="connsiteY1" fmla="*/ 0 h 283654"/>
                  <a:gd name="connsiteX2" fmla="*/ 0 w 283464"/>
                  <a:gd name="connsiteY2" fmla="*/ 70771 h 283654"/>
                  <a:gd name="connsiteX3" fmla="*/ 212884 w 283464"/>
                  <a:gd name="connsiteY3" fmla="*/ 283655 h 28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464" h="283654">
                    <a:moveTo>
                      <a:pt x="283464" y="212503"/>
                    </a:moveTo>
                    <a:lnTo>
                      <a:pt x="70866" y="0"/>
                    </a:lnTo>
                    <a:lnTo>
                      <a:pt x="0" y="70771"/>
                    </a:lnTo>
                    <a:lnTo>
                      <a:pt x="212884" y="283655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î$ľíḓè"/>
              <p:cNvSpPr/>
              <p:nvPr/>
            </p:nvSpPr>
            <p:spPr>
              <a:xfrm>
                <a:off x="4516581" y="5904376"/>
                <a:ext cx="212597" cy="212502"/>
              </a:xfrm>
              <a:custGeom>
                <a:avLst/>
                <a:gdLst>
                  <a:gd name="connsiteX0" fmla="*/ 0 w 212597"/>
                  <a:gd name="connsiteY0" fmla="*/ 212503 h 212502"/>
                  <a:gd name="connsiteX1" fmla="*/ 212598 w 212597"/>
                  <a:gd name="connsiteY1" fmla="*/ 0 h 21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97" h="212502">
                    <a:moveTo>
                      <a:pt x="0" y="212503"/>
                    </a:moveTo>
                    <a:lnTo>
                      <a:pt x="212598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îṥľîde"/>
              <p:cNvSpPr/>
              <p:nvPr/>
            </p:nvSpPr>
            <p:spPr>
              <a:xfrm>
                <a:off x="5376689" y="5904376"/>
                <a:ext cx="212597" cy="212502"/>
              </a:xfrm>
              <a:custGeom>
                <a:avLst/>
                <a:gdLst>
                  <a:gd name="connsiteX0" fmla="*/ 0 w 212597"/>
                  <a:gd name="connsiteY0" fmla="*/ 0 h 212502"/>
                  <a:gd name="connsiteX1" fmla="*/ 212598 w 212597"/>
                  <a:gd name="connsiteY1" fmla="*/ 212503 h 21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97" h="212502">
                    <a:moveTo>
                      <a:pt x="0" y="0"/>
                    </a:moveTo>
                    <a:lnTo>
                      <a:pt x="212598" y="212503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ïşļîde"/>
              <p:cNvSpPr/>
              <p:nvPr/>
            </p:nvSpPr>
            <p:spPr>
              <a:xfrm>
                <a:off x="4741787" y="3562446"/>
                <a:ext cx="481835" cy="395305"/>
              </a:xfrm>
              <a:custGeom>
                <a:avLst/>
                <a:gdLst>
                  <a:gd name="connsiteX0" fmla="*/ 465262 w 481835"/>
                  <a:gd name="connsiteY0" fmla="*/ 226618 h 395305"/>
                  <a:gd name="connsiteX1" fmla="*/ 419732 w 481835"/>
                  <a:gd name="connsiteY1" fmla="*/ 129368 h 395305"/>
                  <a:gd name="connsiteX2" fmla="*/ 481835 w 481835"/>
                  <a:gd name="connsiteY2" fmla="*/ 21354 h 395305"/>
                  <a:gd name="connsiteX3" fmla="*/ 481645 w 481835"/>
                  <a:gd name="connsiteY3" fmla="*/ 2400 h 395305"/>
                  <a:gd name="connsiteX4" fmla="*/ 411922 w 481835"/>
                  <a:gd name="connsiteY4" fmla="*/ 123653 h 395305"/>
                  <a:gd name="connsiteX5" fmla="*/ 245329 w 481835"/>
                  <a:gd name="connsiteY5" fmla="*/ 123653 h 395305"/>
                  <a:gd name="connsiteX6" fmla="*/ 78737 w 481835"/>
                  <a:gd name="connsiteY6" fmla="*/ 123653 h 395305"/>
                  <a:gd name="connsiteX7" fmla="*/ 9014 w 481835"/>
                  <a:gd name="connsiteY7" fmla="*/ 2400 h 395305"/>
                  <a:gd name="connsiteX8" fmla="*/ 2442 w 481835"/>
                  <a:gd name="connsiteY8" fmla="*/ 590 h 395305"/>
                  <a:gd name="connsiteX9" fmla="*/ 632 w 481835"/>
                  <a:gd name="connsiteY9" fmla="*/ 7162 h 395305"/>
                  <a:gd name="connsiteX10" fmla="*/ 70927 w 481835"/>
                  <a:gd name="connsiteY10" fmla="*/ 129368 h 395305"/>
                  <a:gd name="connsiteX11" fmla="*/ 25397 w 481835"/>
                  <a:gd name="connsiteY11" fmla="*/ 226618 h 395305"/>
                  <a:gd name="connsiteX12" fmla="*/ 14634 w 481835"/>
                  <a:gd name="connsiteY12" fmla="*/ 181470 h 395305"/>
                  <a:gd name="connsiteX13" fmla="*/ 4537 w 481835"/>
                  <a:gd name="connsiteY13" fmla="*/ 179469 h 395305"/>
                  <a:gd name="connsiteX14" fmla="*/ 22540 w 481835"/>
                  <a:gd name="connsiteY14" fmla="*/ 245287 h 395305"/>
                  <a:gd name="connsiteX15" fmla="*/ 245329 w 481835"/>
                  <a:gd name="connsiteY15" fmla="*/ 395306 h 395305"/>
                  <a:gd name="connsiteX16" fmla="*/ 464880 w 481835"/>
                  <a:gd name="connsiteY16" fmla="*/ 241477 h 395305"/>
                  <a:gd name="connsiteX17" fmla="*/ 480502 w 481835"/>
                  <a:gd name="connsiteY17" fmla="*/ 150418 h 395305"/>
                  <a:gd name="connsiteX18" fmla="*/ 465262 w 481835"/>
                  <a:gd name="connsiteY18" fmla="*/ 226618 h 395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1835" h="395305">
                    <a:moveTo>
                      <a:pt x="465262" y="226618"/>
                    </a:moveTo>
                    <a:cubicBezTo>
                      <a:pt x="437544" y="185565"/>
                      <a:pt x="424018" y="144227"/>
                      <a:pt x="419732" y="129368"/>
                    </a:cubicBezTo>
                    <a:lnTo>
                      <a:pt x="481835" y="21354"/>
                    </a:lnTo>
                    <a:lnTo>
                      <a:pt x="481645" y="2400"/>
                    </a:lnTo>
                    <a:lnTo>
                      <a:pt x="411922" y="123653"/>
                    </a:lnTo>
                    <a:lnTo>
                      <a:pt x="245329" y="123653"/>
                    </a:lnTo>
                    <a:lnTo>
                      <a:pt x="78737" y="123653"/>
                    </a:lnTo>
                    <a:lnTo>
                      <a:pt x="9014" y="2400"/>
                    </a:lnTo>
                    <a:cubicBezTo>
                      <a:pt x="7680" y="114"/>
                      <a:pt x="4728" y="-648"/>
                      <a:pt x="2442" y="590"/>
                    </a:cubicBezTo>
                    <a:cubicBezTo>
                      <a:pt x="156" y="1923"/>
                      <a:pt x="-701" y="4876"/>
                      <a:pt x="632" y="7162"/>
                    </a:cubicBezTo>
                    <a:lnTo>
                      <a:pt x="70927" y="129368"/>
                    </a:lnTo>
                    <a:cubicBezTo>
                      <a:pt x="66640" y="144227"/>
                      <a:pt x="53115" y="185565"/>
                      <a:pt x="25397" y="226618"/>
                    </a:cubicBezTo>
                    <a:cubicBezTo>
                      <a:pt x="22349" y="217188"/>
                      <a:pt x="18253" y="202234"/>
                      <a:pt x="14634" y="181470"/>
                    </a:cubicBezTo>
                    <a:lnTo>
                      <a:pt x="4537" y="179469"/>
                    </a:lnTo>
                    <a:cubicBezTo>
                      <a:pt x="11872" y="223094"/>
                      <a:pt x="17301" y="231952"/>
                      <a:pt x="22540" y="245287"/>
                    </a:cubicBezTo>
                    <a:cubicBezTo>
                      <a:pt x="57782" y="334155"/>
                      <a:pt x="143793" y="395306"/>
                      <a:pt x="245329" y="395306"/>
                    </a:cubicBezTo>
                    <a:cubicBezTo>
                      <a:pt x="346771" y="395306"/>
                      <a:pt x="430400" y="341204"/>
                      <a:pt x="464880" y="241477"/>
                    </a:cubicBezTo>
                    <a:cubicBezTo>
                      <a:pt x="472596" y="219284"/>
                      <a:pt x="482311" y="150609"/>
                      <a:pt x="480502" y="150418"/>
                    </a:cubicBezTo>
                    <a:cubicBezTo>
                      <a:pt x="476215" y="188232"/>
                      <a:pt x="469738" y="212997"/>
                      <a:pt x="465262" y="226618"/>
                    </a:cubicBez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íS1ídé"/>
              <p:cNvSpPr/>
              <p:nvPr/>
            </p:nvSpPr>
            <p:spPr>
              <a:xfrm>
                <a:off x="4665934" y="3153106"/>
                <a:ext cx="672820" cy="462492"/>
              </a:xfrm>
              <a:custGeom>
                <a:avLst/>
                <a:gdLst>
                  <a:gd name="connsiteX0" fmla="*/ 17716 w 672820"/>
                  <a:gd name="connsiteY0" fmla="*/ 417740 h 462492"/>
                  <a:gd name="connsiteX1" fmla="*/ 73532 w 672820"/>
                  <a:gd name="connsiteY1" fmla="*/ 462412 h 462492"/>
                  <a:gd name="connsiteX2" fmla="*/ 100774 w 672820"/>
                  <a:gd name="connsiteY2" fmla="*/ 450506 h 462492"/>
                  <a:gd name="connsiteX3" fmla="*/ 325469 w 672820"/>
                  <a:gd name="connsiteY3" fmla="*/ 231240 h 462492"/>
                  <a:gd name="connsiteX4" fmla="*/ 565975 w 672820"/>
                  <a:gd name="connsiteY4" fmla="*/ 353065 h 462492"/>
                  <a:gd name="connsiteX5" fmla="*/ 590930 w 672820"/>
                  <a:gd name="connsiteY5" fmla="*/ 231526 h 462492"/>
                  <a:gd name="connsiteX6" fmla="*/ 670845 w 672820"/>
                  <a:gd name="connsiteY6" fmla="*/ 206571 h 462492"/>
                  <a:gd name="connsiteX7" fmla="*/ 610933 w 672820"/>
                  <a:gd name="connsiteY7" fmla="*/ 129990 h 462492"/>
                  <a:gd name="connsiteX8" fmla="*/ 660844 w 672820"/>
                  <a:gd name="connsiteY8" fmla="*/ 51789 h 462492"/>
                  <a:gd name="connsiteX9" fmla="*/ 553878 w 672820"/>
                  <a:gd name="connsiteY9" fmla="*/ 20166 h 462492"/>
                  <a:gd name="connsiteX10" fmla="*/ 253555 w 672820"/>
                  <a:gd name="connsiteY10" fmla="*/ 35121 h 462492"/>
                  <a:gd name="connsiteX11" fmla="*/ 17716 w 672820"/>
                  <a:gd name="connsiteY11" fmla="*/ 417740 h 46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2820" h="462492">
                    <a:moveTo>
                      <a:pt x="17716" y="417740"/>
                    </a:moveTo>
                    <a:cubicBezTo>
                      <a:pt x="24097" y="443553"/>
                      <a:pt x="46957" y="463936"/>
                      <a:pt x="73532" y="462412"/>
                    </a:cubicBezTo>
                    <a:cubicBezTo>
                      <a:pt x="83057" y="461841"/>
                      <a:pt x="92678" y="458602"/>
                      <a:pt x="100774" y="450506"/>
                    </a:cubicBezTo>
                    <a:cubicBezTo>
                      <a:pt x="129158" y="422121"/>
                      <a:pt x="94106" y="206285"/>
                      <a:pt x="325469" y="231240"/>
                    </a:cubicBezTo>
                    <a:cubicBezTo>
                      <a:pt x="556831" y="256196"/>
                      <a:pt x="487774" y="368019"/>
                      <a:pt x="565975" y="353065"/>
                    </a:cubicBezTo>
                    <a:cubicBezTo>
                      <a:pt x="644175" y="338111"/>
                      <a:pt x="590930" y="231526"/>
                      <a:pt x="590930" y="231526"/>
                    </a:cubicBezTo>
                    <a:cubicBezTo>
                      <a:pt x="590930" y="231526"/>
                      <a:pt x="655891" y="258196"/>
                      <a:pt x="670845" y="206571"/>
                    </a:cubicBezTo>
                    <a:cubicBezTo>
                      <a:pt x="685799" y="154945"/>
                      <a:pt x="610933" y="129990"/>
                      <a:pt x="610933" y="129990"/>
                    </a:cubicBezTo>
                    <a:cubicBezTo>
                      <a:pt x="610933" y="129990"/>
                      <a:pt x="672560" y="108368"/>
                      <a:pt x="660844" y="51789"/>
                    </a:cubicBezTo>
                    <a:cubicBezTo>
                      <a:pt x="649223" y="-4789"/>
                      <a:pt x="588549" y="-14505"/>
                      <a:pt x="553878" y="20166"/>
                    </a:cubicBezTo>
                    <a:cubicBezTo>
                      <a:pt x="519207" y="54837"/>
                      <a:pt x="348900" y="55123"/>
                      <a:pt x="253555" y="35121"/>
                    </a:cubicBezTo>
                    <a:cubicBezTo>
                      <a:pt x="160877" y="15785"/>
                      <a:pt x="-64485" y="87603"/>
                      <a:pt x="17716" y="417740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6" name="图形 278"/>
            <p:cNvGrpSpPr/>
            <p:nvPr userDrawn="1"/>
          </p:nvGrpSpPr>
          <p:grpSpPr>
            <a:xfrm rot="21306450">
              <a:off x="2862710" y="639906"/>
              <a:ext cx="2010997" cy="5287322"/>
              <a:chOff x="2454419" y="3140768"/>
              <a:chExt cx="1574030" cy="4138446"/>
            </a:xfrm>
            <a:solidFill>
              <a:schemeClr val="accent1"/>
            </a:solidFill>
          </p:grpSpPr>
          <p:sp>
            <p:nvSpPr>
              <p:cNvPr id="157" name="îsḷîḓe"/>
              <p:cNvSpPr/>
              <p:nvPr/>
            </p:nvSpPr>
            <p:spPr>
              <a:xfrm>
                <a:off x="2894493" y="3249636"/>
                <a:ext cx="829832" cy="709379"/>
              </a:xfrm>
              <a:custGeom>
                <a:avLst/>
                <a:gdLst>
                  <a:gd name="connsiteX0" fmla="*/ 565861 w 829832"/>
                  <a:gd name="connsiteY0" fmla="*/ 10314 h 709379"/>
                  <a:gd name="connsiteX1" fmla="*/ 431463 w 829832"/>
                  <a:gd name="connsiteY1" fmla="*/ 4028 h 709379"/>
                  <a:gd name="connsiteX2" fmla="*/ 134379 w 829832"/>
                  <a:gd name="connsiteY2" fmla="*/ 193290 h 709379"/>
                  <a:gd name="connsiteX3" fmla="*/ 49892 w 829832"/>
                  <a:gd name="connsiteY3" fmla="*/ 317591 h 709379"/>
                  <a:gd name="connsiteX4" fmla="*/ 198672 w 829832"/>
                  <a:gd name="connsiteY4" fmla="*/ 673255 h 709379"/>
                  <a:gd name="connsiteX5" fmla="*/ 570147 w 829832"/>
                  <a:gd name="connsiteY5" fmla="*/ 708307 h 709379"/>
                  <a:gd name="connsiteX6" fmla="*/ 829704 w 829832"/>
                  <a:gd name="connsiteY6" fmla="*/ 467229 h 709379"/>
                  <a:gd name="connsiteX7" fmla="*/ 565861 w 829832"/>
                  <a:gd name="connsiteY7" fmla="*/ 10314 h 70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9832" h="709379">
                    <a:moveTo>
                      <a:pt x="565861" y="10314"/>
                    </a:moveTo>
                    <a:cubicBezTo>
                      <a:pt x="522141" y="-1497"/>
                      <a:pt x="476326" y="-2544"/>
                      <a:pt x="431463" y="4028"/>
                    </a:cubicBezTo>
                    <a:cubicBezTo>
                      <a:pt x="346691" y="16506"/>
                      <a:pt x="203530" y="57749"/>
                      <a:pt x="134379" y="193290"/>
                    </a:cubicBezTo>
                    <a:cubicBezTo>
                      <a:pt x="109709" y="241677"/>
                      <a:pt x="79514" y="281777"/>
                      <a:pt x="49892" y="317591"/>
                    </a:cubicBezTo>
                    <a:cubicBezTo>
                      <a:pt x="-61455" y="452275"/>
                      <a:pt x="24650" y="656776"/>
                      <a:pt x="198672" y="673255"/>
                    </a:cubicBezTo>
                    <a:lnTo>
                      <a:pt x="570147" y="708307"/>
                    </a:lnTo>
                    <a:cubicBezTo>
                      <a:pt x="711308" y="721642"/>
                      <a:pt x="834371" y="608961"/>
                      <a:pt x="829704" y="467229"/>
                    </a:cubicBezTo>
                    <a:cubicBezTo>
                      <a:pt x="823703" y="285111"/>
                      <a:pt x="771506" y="65845"/>
                      <a:pt x="565861" y="10314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58" name="ïŝļïḍe"/>
              <p:cNvSpPr/>
              <p:nvPr/>
            </p:nvSpPr>
            <p:spPr>
              <a:xfrm>
                <a:off x="2528142" y="4085492"/>
                <a:ext cx="1202781" cy="3193722"/>
              </a:xfrm>
              <a:custGeom>
                <a:avLst/>
                <a:gdLst>
                  <a:gd name="connsiteX0" fmla="*/ 1184339 w 1202781"/>
                  <a:gd name="connsiteY0" fmla="*/ 3193723 h 3193722"/>
                  <a:gd name="connsiteX1" fmla="*/ 1184053 w 1202781"/>
                  <a:gd name="connsiteY1" fmla="*/ 818569 h 3193722"/>
                  <a:gd name="connsiteX2" fmla="*/ 823055 w 1202781"/>
                  <a:gd name="connsiteY2" fmla="*/ 3610 h 3193722"/>
                  <a:gd name="connsiteX3" fmla="*/ 343948 w 1202781"/>
                  <a:gd name="connsiteY3" fmla="*/ 418519 h 3193722"/>
                  <a:gd name="connsiteX4" fmla="*/ 0 w 1202781"/>
                  <a:gd name="connsiteY4" fmla="*/ 3095234 h 3193722"/>
                  <a:gd name="connsiteX5" fmla="*/ 1184339 w 1202781"/>
                  <a:gd name="connsiteY5" fmla="*/ 3193723 h 3193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2781" h="3193722">
                    <a:moveTo>
                      <a:pt x="1184339" y="3193723"/>
                    </a:moveTo>
                    <a:lnTo>
                      <a:pt x="1184053" y="818569"/>
                    </a:lnTo>
                    <a:cubicBezTo>
                      <a:pt x="1194054" y="698173"/>
                      <a:pt x="1308449" y="43996"/>
                      <a:pt x="823055" y="3610"/>
                    </a:cubicBezTo>
                    <a:cubicBezTo>
                      <a:pt x="540925" y="-19917"/>
                      <a:pt x="361093" y="66284"/>
                      <a:pt x="343948" y="418519"/>
                    </a:cubicBezTo>
                    <a:cubicBezTo>
                      <a:pt x="324803" y="814283"/>
                      <a:pt x="0" y="3095234"/>
                      <a:pt x="0" y="3095234"/>
                    </a:cubicBezTo>
                    <a:lnTo>
                      <a:pt x="1184339" y="3193723"/>
                    </a:ln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59" name="图形 278"/>
              <p:cNvGrpSpPr/>
              <p:nvPr/>
            </p:nvGrpSpPr>
            <p:grpSpPr>
              <a:xfrm>
                <a:off x="3110292" y="4041877"/>
                <a:ext cx="444737" cy="874922"/>
                <a:chOff x="3110292" y="4041877"/>
                <a:chExt cx="444737" cy="874922"/>
              </a:xfrm>
              <a:solidFill>
                <a:schemeClr val="accent1"/>
              </a:solidFill>
            </p:grpSpPr>
            <p:sp>
              <p:nvSpPr>
                <p:cNvPr id="197" name="ïṣḷïḋè"/>
                <p:cNvSpPr/>
                <p:nvPr/>
              </p:nvSpPr>
              <p:spPr>
                <a:xfrm>
                  <a:off x="3110292" y="4041877"/>
                  <a:ext cx="444737" cy="697019"/>
                </a:xfrm>
                <a:custGeom>
                  <a:avLst/>
                  <a:gdLst>
                    <a:gd name="connsiteX0" fmla="*/ 237953 w 444737"/>
                    <a:gd name="connsiteY0" fmla="*/ 171 h 697019"/>
                    <a:gd name="connsiteX1" fmla="*/ 237953 w 444737"/>
                    <a:gd name="connsiteY1" fmla="*/ 171 h 697019"/>
                    <a:gd name="connsiteX2" fmla="*/ 971 w 444737"/>
                    <a:gd name="connsiteY2" fmla="*/ 182670 h 697019"/>
                    <a:gd name="connsiteX3" fmla="*/ 182327 w 444737"/>
                    <a:gd name="connsiteY3" fmla="*/ 697020 h 697019"/>
                    <a:gd name="connsiteX4" fmla="*/ 443883 w 444737"/>
                    <a:gd name="connsiteY4" fmla="*/ 219532 h 697019"/>
                    <a:gd name="connsiteX5" fmla="*/ 237953 w 444737"/>
                    <a:gd name="connsiteY5" fmla="*/ 171 h 6970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737" h="697019">
                      <a:moveTo>
                        <a:pt x="237953" y="171"/>
                      </a:moveTo>
                      <a:lnTo>
                        <a:pt x="237953" y="171"/>
                      </a:lnTo>
                      <a:cubicBezTo>
                        <a:pt x="214712" y="-782"/>
                        <a:pt x="16497" y="-3830"/>
                        <a:pt x="971" y="182670"/>
                      </a:cubicBezTo>
                      <a:cubicBezTo>
                        <a:pt x="-14555" y="368979"/>
                        <a:pt x="160991" y="667874"/>
                        <a:pt x="182327" y="697020"/>
                      </a:cubicBezTo>
                      <a:cubicBezTo>
                        <a:pt x="208235" y="671779"/>
                        <a:pt x="428357" y="405745"/>
                        <a:pt x="443883" y="219532"/>
                      </a:cubicBezTo>
                      <a:cubicBezTo>
                        <a:pt x="459314" y="33032"/>
                        <a:pt x="261003" y="3028"/>
                        <a:pt x="237953" y="171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8" name="ïṡlíḍè"/>
                <p:cNvSpPr/>
                <p:nvPr/>
              </p:nvSpPr>
              <p:spPr>
                <a:xfrm rot="285305">
                  <a:off x="3160023" y="4758777"/>
                  <a:ext cx="247374" cy="148024"/>
                </a:xfrm>
                <a:custGeom>
                  <a:avLst/>
                  <a:gdLst>
                    <a:gd name="connsiteX0" fmla="*/ 0 w 247374"/>
                    <a:gd name="connsiteY0" fmla="*/ 0 h 148024"/>
                    <a:gd name="connsiteX1" fmla="*/ 247375 w 247374"/>
                    <a:gd name="connsiteY1" fmla="*/ 0 h 148024"/>
                    <a:gd name="connsiteX2" fmla="*/ 247375 w 247374"/>
                    <a:gd name="connsiteY2" fmla="*/ 148025 h 148024"/>
                    <a:gd name="connsiteX3" fmla="*/ 0 w 247374"/>
                    <a:gd name="connsiteY3" fmla="*/ 148025 h 148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74" h="148024">
                      <a:moveTo>
                        <a:pt x="0" y="0"/>
                      </a:moveTo>
                      <a:lnTo>
                        <a:pt x="247375" y="0"/>
                      </a:lnTo>
                      <a:lnTo>
                        <a:pt x="247375" y="148025"/>
                      </a:lnTo>
                      <a:lnTo>
                        <a:pt x="0" y="1480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9" name="îṧliďê"/>
                <p:cNvSpPr/>
                <p:nvPr/>
              </p:nvSpPr>
              <p:spPr>
                <a:xfrm>
                  <a:off x="3289190" y="4738992"/>
                  <a:ext cx="3333" cy="40386"/>
                </a:xfrm>
                <a:custGeom>
                  <a:avLst/>
                  <a:gdLst>
                    <a:gd name="connsiteX0" fmla="*/ 3334 w 3333"/>
                    <a:gd name="connsiteY0" fmla="*/ 0 h 40386"/>
                    <a:gd name="connsiteX1" fmla="*/ 0 w 3333"/>
                    <a:gd name="connsiteY1" fmla="*/ 40386 h 40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3" h="40386">
                      <a:moveTo>
                        <a:pt x="3334" y="0"/>
                      </a:moveTo>
                      <a:lnTo>
                        <a:pt x="0" y="40386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0" name="ïślîḓé"/>
                <p:cNvSpPr/>
                <p:nvPr/>
              </p:nvSpPr>
              <p:spPr>
                <a:xfrm rot="285305">
                  <a:off x="3188314" y="4792314"/>
                  <a:ext cx="56199" cy="56199"/>
                </a:xfrm>
                <a:custGeom>
                  <a:avLst/>
                  <a:gdLst>
                    <a:gd name="connsiteX0" fmla="*/ 0 w 56199"/>
                    <a:gd name="connsiteY0" fmla="*/ 0 h 56199"/>
                    <a:gd name="connsiteX1" fmla="*/ 56200 w 56199"/>
                    <a:gd name="connsiteY1" fmla="*/ 0 h 56199"/>
                    <a:gd name="connsiteX2" fmla="*/ 56200 w 56199"/>
                    <a:gd name="connsiteY2" fmla="*/ 56200 h 56199"/>
                    <a:gd name="connsiteX3" fmla="*/ 0 w 56199"/>
                    <a:gd name="connsiteY3" fmla="*/ 56200 h 56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9" h="56199">
                      <a:moveTo>
                        <a:pt x="0" y="0"/>
                      </a:moveTo>
                      <a:lnTo>
                        <a:pt x="56200" y="0"/>
                      </a:lnTo>
                      <a:lnTo>
                        <a:pt x="56200" y="56200"/>
                      </a:lnTo>
                      <a:lnTo>
                        <a:pt x="0" y="56200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1" name="îşḷíḓè"/>
                <p:cNvSpPr/>
                <p:nvPr/>
              </p:nvSpPr>
              <p:spPr>
                <a:xfrm rot="285305">
                  <a:off x="3274614" y="4801929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2" name="îşļîḑè"/>
                <p:cNvSpPr/>
                <p:nvPr/>
              </p:nvSpPr>
              <p:spPr>
                <a:xfrm rot="285305">
                  <a:off x="3272709" y="4825366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3" name="íṩḷïḑé"/>
                <p:cNvSpPr/>
                <p:nvPr/>
              </p:nvSpPr>
              <p:spPr>
                <a:xfrm rot="285305">
                  <a:off x="3270709" y="4848794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4" name="íśḷíďê"/>
                <p:cNvSpPr/>
                <p:nvPr/>
              </p:nvSpPr>
              <p:spPr>
                <a:xfrm rot="285305">
                  <a:off x="3268811" y="4872135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1 w 116400"/>
                    <a:gd name="connsiteY1" fmla="*/ 0 h 9144"/>
                    <a:gd name="connsiteX2" fmla="*/ 116401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1" y="0"/>
                      </a:lnTo>
                      <a:lnTo>
                        <a:pt x="116401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5" name="ïṣḻîde"/>
                <p:cNvSpPr/>
                <p:nvPr/>
              </p:nvSpPr>
              <p:spPr>
                <a:xfrm rot="285305">
                  <a:off x="3184415" y="4862611"/>
                  <a:ext cx="56199" cy="9144"/>
                </a:xfrm>
                <a:custGeom>
                  <a:avLst/>
                  <a:gdLst>
                    <a:gd name="connsiteX0" fmla="*/ 0 w 56199"/>
                    <a:gd name="connsiteY0" fmla="*/ 0 h 9144"/>
                    <a:gd name="connsiteX1" fmla="*/ 56200 w 56199"/>
                    <a:gd name="connsiteY1" fmla="*/ 0 h 9144"/>
                    <a:gd name="connsiteX2" fmla="*/ 56200 w 56199"/>
                    <a:gd name="connsiteY2" fmla="*/ 9144 h 9144"/>
                    <a:gd name="connsiteX3" fmla="*/ 0 w 56199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9" h="9144">
                      <a:moveTo>
                        <a:pt x="0" y="0"/>
                      </a:moveTo>
                      <a:lnTo>
                        <a:pt x="56200" y="0"/>
                      </a:lnTo>
                      <a:lnTo>
                        <a:pt x="562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0" name="ïśḻiḋè"/>
              <p:cNvSpPr/>
              <p:nvPr/>
            </p:nvSpPr>
            <p:spPr>
              <a:xfrm>
                <a:off x="2482444" y="4094054"/>
                <a:ext cx="667775" cy="1848326"/>
              </a:xfrm>
              <a:custGeom>
                <a:avLst/>
                <a:gdLst>
                  <a:gd name="connsiteX0" fmla="*/ 667776 w 667775"/>
                  <a:gd name="connsiteY0" fmla="*/ 0 h 1848326"/>
                  <a:gd name="connsiteX1" fmla="*/ 2740 w 667775"/>
                  <a:gd name="connsiteY1" fmla="*/ 1144619 h 1848326"/>
                  <a:gd name="connsiteX2" fmla="*/ 285537 w 667775"/>
                  <a:gd name="connsiteY2" fmla="*/ 1848326 h 1848326"/>
                  <a:gd name="connsiteX3" fmla="*/ 430127 w 667775"/>
                  <a:gd name="connsiteY3" fmla="*/ 1725930 h 1848326"/>
                  <a:gd name="connsiteX4" fmla="*/ 621960 w 667775"/>
                  <a:gd name="connsiteY4" fmla="*/ 550259 h 1848326"/>
                  <a:gd name="connsiteX5" fmla="*/ 667776 w 667775"/>
                  <a:gd name="connsiteY5" fmla="*/ 0 h 1848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7775" h="1848326">
                    <a:moveTo>
                      <a:pt x="667776" y="0"/>
                    </a:moveTo>
                    <a:cubicBezTo>
                      <a:pt x="667776" y="0"/>
                      <a:pt x="95799" y="27051"/>
                      <a:pt x="2740" y="1144619"/>
                    </a:cubicBezTo>
                    <a:cubicBezTo>
                      <a:pt x="-32598" y="1569053"/>
                      <a:pt x="285537" y="1848326"/>
                      <a:pt x="285537" y="1848326"/>
                    </a:cubicBezTo>
                    <a:lnTo>
                      <a:pt x="430127" y="1725930"/>
                    </a:lnTo>
                    <a:cubicBezTo>
                      <a:pt x="430127" y="1725930"/>
                      <a:pt x="-65364" y="1131951"/>
                      <a:pt x="621960" y="550259"/>
                    </a:cubicBezTo>
                    <a:lnTo>
                      <a:pt x="667776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1" name="íṡļïďè"/>
              <p:cNvSpPr/>
              <p:nvPr/>
            </p:nvSpPr>
            <p:spPr>
              <a:xfrm>
                <a:off x="3500359" y="4137298"/>
                <a:ext cx="528090" cy="1876139"/>
              </a:xfrm>
              <a:custGeom>
                <a:avLst/>
                <a:gdLst>
                  <a:gd name="connsiteX0" fmla="*/ 50197 w 528090"/>
                  <a:gd name="connsiteY0" fmla="*/ 0 h 1876139"/>
                  <a:gd name="connsiteX1" fmla="*/ 517684 w 528090"/>
                  <a:gd name="connsiteY1" fmla="*/ 1228916 h 1876139"/>
                  <a:gd name="connsiteX2" fmla="*/ 122396 w 528090"/>
                  <a:gd name="connsiteY2" fmla="*/ 1876139 h 1876139"/>
                  <a:gd name="connsiteX3" fmla="*/ 0 w 528090"/>
                  <a:gd name="connsiteY3" fmla="*/ 1731550 h 1876139"/>
                  <a:gd name="connsiteX4" fmla="*/ 5144 w 528090"/>
                  <a:gd name="connsiteY4" fmla="*/ 540353 h 1876139"/>
                  <a:gd name="connsiteX5" fmla="*/ 50197 w 528090"/>
                  <a:gd name="connsiteY5" fmla="*/ 0 h 1876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8090" h="1876139">
                    <a:moveTo>
                      <a:pt x="50197" y="0"/>
                    </a:moveTo>
                    <a:cubicBezTo>
                      <a:pt x="50197" y="0"/>
                      <a:pt x="610648" y="111347"/>
                      <a:pt x="517684" y="1228916"/>
                    </a:cubicBezTo>
                    <a:cubicBezTo>
                      <a:pt x="482346" y="1653349"/>
                      <a:pt x="122396" y="1876139"/>
                      <a:pt x="122396" y="1876139"/>
                    </a:cubicBezTo>
                    <a:lnTo>
                      <a:pt x="0" y="1731550"/>
                    </a:lnTo>
                    <a:cubicBezTo>
                      <a:pt x="0" y="1731550"/>
                      <a:pt x="586835" y="1227677"/>
                      <a:pt x="5144" y="540353"/>
                    </a:cubicBezTo>
                    <a:lnTo>
                      <a:pt x="50197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2" name="îS1ïďè"/>
              <p:cNvSpPr/>
              <p:nvPr/>
            </p:nvSpPr>
            <p:spPr>
              <a:xfrm>
                <a:off x="2454419" y="4077005"/>
                <a:ext cx="750189" cy="2991421"/>
              </a:xfrm>
              <a:custGeom>
                <a:avLst/>
                <a:gdLst>
                  <a:gd name="connsiteX0" fmla="*/ 695801 w 750189"/>
                  <a:gd name="connsiteY0" fmla="*/ 17050 h 2991421"/>
                  <a:gd name="connsiteX1" fmla="*/ 457105 w 750189"/>
                  <a:gd name="connsiteY1" fmla="*/ 319088 h 2991421"/>
                  <a:gd name="connsiteX2" fmla="*/ 0 w 750189"/>
                  <a:gd name="connsiteY2" fmla="*/ 2952083 h 2991421"/>
                  <a:gd name="connsiteX3" fmla="*/ 472630 w 750189"/>
                  <a:gd name="connsiteY3" fmla="*/ 2991422 h 2991421"/>
                  <a:gd name="connsiteX4" fmla="*/ 750189 w 750189"/>
                  <a:gd name="connsiteY4" fmla="*/ 0 h 2991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0189" h="2991421">
                    <a:moveTo>
                      <a:pt x="695801" y="17050"/>
                    </a:moveTo>
                    <a:lnTo>
                      <a:pt x="457105" y="319088"/>
                    </a:lnTo>
                    <a:lnTo>
                      <a:pt x="0" y="2952083"/>
                    </a:lnTo>
                    <a:lnTo>
                      <a:pt x="472630" y="2991422"/>
                    </a:lnTo>
                    <a:lnTo>
                      <a:pt x="75018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işḷîḍè"/>
              <p:cNvSpPr/>
              <p:nvPr/>
            </p:nvSpPr>
            <p:spPr>
              <a:xfrm>
                <a:off x="3237945" y="4105485"/>
                <a:ext cx="561403" cy="3035522"/>
              </a:xfrm>
              <a:custGeom>
                <a:avLst/>
                <a:gdLst>
                  <a:gd name="connsiteX0" fmla="*/ 545878 w 561403"/>
                  <a:gd name="connsiteY0" fmla="*/ 363188 h 3035522"/>
                  <a:gd name="connsiteX1" fmla="*/ 278797 w 561403"/>
                  <a:gd name="connsiteY1" fmla="*/ 19050 h 3035522"/>
                  <a:gd name="connsiteX2" fmla="*/ 254032 w 561403"/>
                  <a:gd name="connsiteY2" fmla="*/ 0 h 3035522"/>
                  <a:gd name="connsiteX3" fmla="*/ 0 w 561403"/>
                  <a:gd name="connsiteY3" fmla="*/ 2988850 h 3035522"/>
                  <a:gd name="connsiteX4" fmla="*/ 561403 w 561403"/>
                  <a:gd name="connsiteY4" fmla="*/ 3035522 h 3035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403" h="3035522">
                    <a:moveTo>
                      <a:pt x="545878" y="363188"/>
                    </a:moveTo>
                    <a:lnTo>
                      <a:pt x="278797" y="19050"/>
                    </a:lnTo>
                    <a:lnTo>
                      <a:pt x="254032" y="0"/>
                    </a:lnTo>
                    <a:lnTo>
                      <a:pt x="0" y="2988850"/>
                    </a:lnTo>
                    <a:lnTo>
                      <a:pt x="561403" y="3035522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ïṡḻïḑe"/>
              <p:cNvSpPr/>
              <p:nvPr/>
            </p:nvSpPr>
            <p:spPr>
              <a:xfrm>
                <a:off x="3049160" y="4034238"/>
                <a:ext cx="159067" cy="1718119"/>
              </a:xfrm>
              <a:custGeom>
                <a:avLst/>
                <a:gdLst>
                  <a:gd name="connsiteX0" fmla="*/ 0 w 159067"/>
                  <a:gd name="connsiteY0" fmla="*/ 1718120 h 1718119"/>
                  <a:gd name="connsiteX1" fmla="*/ 62579 w 159067"/>
                  <a:gd name="connsiteY1" fmla="*/ 66008 h 1718119"/>
                  <a:gd name="connsiteX2" fmla="*/ 159067 w 159067"/>
                  <a:gd name="connsiteY2" fmla="*/ 0 h 171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067" h="1718119">
                    <a:moveTo>
                      <a:pt x="0" y="1718120"/>
                    </a:moveTo>
                    <a:lnTo>
                      <a:pt x="62579" y="66008"/>
                    </a:lnTo>
                    <a:lnTo>
                      <a:pt x="159067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îšḻîḓè"/>
              <p:cNvSpPr/>
              <p:nvPr/>
            </p:nvSpPr>
            <p:spPr>
              <a:xfrm>
                <a:off x="3516567" y="4963592"/>
                <a:ext cx="228203" cy="256612"/>
              </a:xfrm>
              <a:custGeom>
                <a:avLst/>
                <a:gdLst>
                  <a:gd name="connsiteX0" fmla="*/ 2175 w 228203"/>
                  <a:gd name="connsiteY0" fmla="*/ 0 h 256612"/>
                  <a:gd name="connsiteX1" fmla="*/ 228204 w 228203"/>
                  <a:gd name="connsiteY1" fmla="*/ 18764 h 256612"/>
                  <a:gd name="connsiteX2" fmla="*/ 97044 w 228203"/>
                  <a:gd name="connsiteY2" fmla="*/ 256318 h 256612"/>
                  <a:gd name="connsiteX3" fmla="*/ 2175 w 228203"/>
                  <a:gd name="connsiteY3" fmla="*/ 0 h 256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203" h="256612">
                    <a:moveTo>
                      <a:pt x="2175" y="0"/>
                    </a:moveTo>
                    <a:lnTo>
                      <a:pt x="228204" y="18764"/>
                    </a:lnTo>
                    <a:cubicBezTo>
                      <a:pt x="228204" y="18764"/>
                      <a:pt x="216869" y="266319"/>
                      <a:pt x="97044" y="256318"/>
                    </a:cubicBezTo>
                    <a:cubicBezTo>
                      <a:pt x="-22876" y="246412"/>
                      <a:pt x="2175" y="0"/>
                      <a:pt x="2175" y="0"/>
                    </a:cubicBez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íślíḋe"/>
              <p:cNvSpPr/>
              <p:nvPr/>
            </p:nvSpPr>
            <p:spPr>
              <a:xfrm>
                <a:off x="3347578" y="4058050"/>
                <a:ext cx="230886" cy="1719167"/>
              </a:xfrm>
              <a:custGeom>
                <a:avLst/>
                <a:gdLst>
                  <a:gd name="connsiteX0" fmla="*/ 0 w 230886"/>
                  <a:gd name="connsiteY0" fmla="*/ 1719167 h 1719167"/>
                  <a:gd name="connsiteX1" fmla="*/ 230886 w 230886"/>
                  <a:gd name="connsiteY1" fmla="*/ 80963 h 1719167"/>
                  <a:gd name="connsiteX2" fmla="*/ 146685 w 230886"/>
                  <a:gd name="connsiteY2" fmla="*/ 0 h 171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886" h="1719167">
                    <a:moveTo>
                      <a:pt x="0" y="1719167"/>
                    </a:moveTo>
                    <a:lnTo>
                      <a:pt x="230886" y="80963"/>
                    </a:lnTo>
                    <a:lnTo>
                      <a:pt x="146685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7" name="图形 278"/>
              <p:cNvGrpSpPr/>
              <p:nvPr/>
            </p:nvGrpSpPr>
            <p:grpSpPr>
              <a:xfrm>
                <a:off x="2840218" y="4060821"/>
                <a:ext cx="819392" cy="715011"/>
                <a:chOff x="2840218" y="4060821"/>
                <a:chExt cx="819392" cy="715011"/>
              </a:xfrm>
              <a:solidFill>
                <a:schemeClr val="accent1"/>
              </a:solidFill>
            </p:grpSpPr>
            <p:sp>
              <p:nvSpPr>
                <p:cNvPr id="191" name="iṩľíḑê"/>
                <p:cNvSpPr/>
                <p:nvPr/>
              </p:nvSpPr>
              <p:spPr>
                <a:xfrm>
                  <a:off x="2861612" y="4305073"/>
                  <a:ext cx="211839" cy="449390"/>
                </a:xfrm>
                <a:custGeom>
                  <a:avLst/>
                  <a:gdLst>
                    <a:gd name="connsiteX0" fmla="*/ 170783 w 211839"/>
                    <a:gd name="connsiteY0" fmla="*/ 448873 h 449390"/>
                    <a:gd name="connsiteX1" fmla="*/ 104870 w 211839"/>
                    <a:gd name="connsiteY1" fmla="*/ 131500 h 449390"/>
                    <a:gd name="connsiteX2" fmla="*/ 185738 w 211839"/>
                    <a:gd name="connsiteY2" fmla="*/ 1389 h 449390"/>
                    <a:gd name="connsiteX3" fmla="*/ 195072 w 211839"/>
                    <a:gd name="connsiteY3" fmla="*/ 156551 h 449390"/>
                    <a:gd name="connsiteX4" fmla="*/ 0 w 211839"/>
                    <a:gd name="connsiteY4" fmla="*/ 415441 h 449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839" h="449390">
                      <a:moveTo>
                        <a:pt x="170783" y="448873"/>
                      </a:moveTo>
                      <a:cubicBezTo>
                        <a:pt x="170783" y="448873"/>
                        <a:pt x="41243" y="476305"/>
                        <a:pt x="104870" y="131500"/>
                      </a:cubicBezTo>
                      <a:cubicBezTo>
                        <a:pt x="104870" y="131500"/>
                        <a:pt x="133064" y="-15756"/>
                        <a:pt x="185738" y="1389"/>
                      </a:cubicBezTo>
                      <a:cubicBezTo>
                        <a:pt x="238411" y="18534"/>
                        <a:pt x="195072" y="156551"/>
                        <a:pt x="195072" y="156551"/>
                      </a:cubicBezTo>
                      <a:cubicBezTo>
                        <a:pt x="105537" y="495451"/>
                        <a:pt x="0" y="415441"/>
                        <a:pt x="0" y="415441"/>
                      </a:cubicBezTo>
                    </a:path>
                  </a:pathLst>
                </a:custGeom>
                <a:noFill/>
                <a:ln w="14779" cap="flat">
                  <a:solidFill>
                    <a:srgbClr val="5B7FC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2" name="ïSḷîḑe"/>
                <p:cNvSpPr/>
                <p:nvPr/>
              </p:nvSpPr>
              <p:spPr>
                <a:xfrm>
                  <a:off x="3047350" y="4060821"/>
                  <a:ext cx="561308" cy="575586"/>
                </a:xfrm>
                <a:custGeom>
                  <a:avLst/>
                  <a:gdLst>
                    <a:gd name="connsiteX0" fmla="*/ 0 w 561308"/>
                    <a:gd name="connsiteY0" fmla="*/ 245736 h 575586"/>
                    <a:gd name="connsiteX1" fmla="*/ 319469 w 561308"/>
                    <a:gd name="connsiteY1" fmla="*/ 1801 h 575586"/>
                    <a:gd name="connsiteX2" fmla="*/ 561308 w 561308"/>
                    <a:gd name="connsiteY2" fmla="*/ 575587 h 575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1308" h="575586">
                      <a:moveTo>
                        <a:pt x="0" y="245736"/>
                      </a:moveTo>
                      <a:cubicBezTo>
                        <a:pt x="0" y="245736"/>
                        <a:pt x="3429" y="-24488"/>
                        <a:pt x="319469" y="1801"/>
                      </a:cubicBezTo>
                      <a:cubicBezTo>
                        <a:pt x="635508" y="28090"/>
                        <a:pt x="493586" y="433188"/>
                        <a:pt x="561308" y="575587"/>
                      </a:cubicBezTo>
                    </a:path>
                  </a:pathLst>
                </a:custGeom>
                <a:noFill/>
                <a:ln w="14779" cap="flat">
                  <a:solidFill>
                    <a:srgbClr val="5B7FC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3" name="í$ḻîḋê"/>
                <p:cNvSpPr/>
                <p:nvPr/>
              </p:nvSpPr>
              <p:spPr>
                <a:xfrm rot="-5216342">
                  <a:off x="2841278" y="4700057"/>
                  <a:ext cx="40768" cy="40768"/>
                </a:xfrm>
                <a:custGeom>
                  <a:avLst/>
                  <a:gdLst>
                    <a:gd name="connsiteX0" fmla="*/ 40768 w 40768"/>
                    <a:gd name="connsiteY0" fmla="*/ 20384 h 40768"/>
                    <a:gd name="connsiteX1" fmla="*/ 20384 w 40768"/>
                    <a:gd name="connsiteY1" fmla="*/ 40768 h 40768"/>
                    <a:gd name="connsiteX2" fmla="*/ 0 w 40768"/>
                    <a:gd name="connsiteY2" fmla="*/ 20384 h 40768"/>
                    <a:gd name="connsiteX3" fmla="*/ 20384 w 40768"/>
                    <a:gd name="connsiteY3" fmla="*/ 0 h 40768"/>
                    <a:gd name="connsiteX4" fmla="*/ 40768 w 40768"/>
                    <a:gd name="connsiteY4" fmla="*/ 20384 h 40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8" h="40768">
                      <a:moveTo>
                        <a:pt x="40768" y="20384"/>
                      </a:moveTo>
                      <a:cubicBezTo>
                        <a:pt x="40768" y="31642"/>
                        <a:pt x="31642" y="40768"/>
                        <a:pt x="20384" y="40768"/>
                      </a:cubicBezTo>
                      <a:cubicBezTo>
                        <a:pt x="9126" y="40768"/>
                        <a:pt x="0" y="31642"/>
                        <a:pt x="0" y="20384"/>
                      </a:cubicBezTo>
                      <a:cubicBezTo>
                        <a:pt x="0" y="9126"/>
                        <a:pt x="9126" y="0"/>
                        <a:pt x="20384" y="0"/>
                      </a:cubicBezTo>
                      <a:cubicBezTo>
                        <a:pt x="31642" y="0"/>
                        <a:pt x="40768" y="9126"/>
                        <a:pt x="40768" y="20384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4" name="íṣḷíḍê"/>
                <p:cNvSpPr/>
                <p:nvPr/>
              </p:nvSpPr>
              <p:spPr>
                <a:xfrm>
                  <a:off x="3557610" y="4585455"/>
                  <a:ext cx="102000" cy="102001"/>
                </a:xfrm>
                <a:custGeom>
                  <a:avLst/>
                  <a:gdLst>
                    <a:gd name="connsiteX0" fmla="*/ 184 w 102000"/>
                    <a:gd name="connsiteY0" fmla="*/ 46762 h 102001"/>
                    <a:gd name="connsiteX1" fmla="*/ 46762 w 102000"/>
                    <a:gd name="connsiteY1" fmla="*/ 101817 h 102001"/>
                    <a:gd name="connsiteX2" fmla="*/ 101816 w 102000"/>
                    <a:gd name="connsiteY2" fmla="*/ 55240 h 102001"/>
                    <a:gd name="connsiteX3" fmla="*/ 55239 w 102000"/>
                    <a:gd name="connsiteY3" fmla="*/ 185 h 102001"/>
                    <a:gd name="connsiteX4" fmla="*/ 184 w 102000"/>
                    <a:gd name="connsiteY4" fmla="*/ 46762 h 102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000" h="102001">
                      <a:moveTo>
                        <a:pt x="184" y="46762"/>
                      </a:moveTo>
                      <a:cubicBezTo>
                        <a:pt x="-2197" y="74861"/>
                        <a:pt x="18758" y="99531"/>
                        <a:pt x="46762" y="101817"/>
                      </a:cubicBezTo>
                      <a:cubicBezTo>
                        <a:pt x="74860" y="104198"/>
                        <a:pt x="99530" y="83243"/>
                        <a:pt x="101816" y="55240"/>
                      </a:cubicBezTo>
                      <a:cubicBezTo>
                        <a:pt x="104198" y="27141"/>
                        <a:pt x="83242" y="2471"/>
                        <a:pt x="55239" y="185"/>
                      </a:cubicBezTo>
                      <a:cubicBezTo>
                        <a:pt x="27140" y="-2196"/>
                        <a:pt x="2470" y="18664"/>
                        <a:pt x="184" y="46762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5" name="íslîḋé"/>
                <p:cNvSpPr/>
                <p:nvPr/>
              </p:nvSpPr>
              <p:spPr>
                <a:xfrm>
                  <a:off x="3581893" y="4609738"/>
                  <a:ext cx="53435" cy="53435"/>
                </a:xfrm>
                <a:custGeom>
                  <a:avLst/>
                  <a:gdLst>
                    <a:gd name="connsiteX0" fmla="*/ 95 w 53435"/>
                    <a:gd name="connsiteY0" fmla="*/ 24479 h 53435"/>
                    <a:gd name="connsiteX1" fmla="*/ 24479 w 53435"/>
                    <a:gd name="connsiteY1" fmla="*/ 53340 h 53435"/>
                    <a:gd name="connsiteX2" fmla="*/ 53340 w 53435"/>
                    <a:gd name="connsiteY2" fmla="*/ 28956 h 53435"/>
                    <a:gd name="connsiteX3" fmla="*/ 28956 w 53435"/>
                    <a:gd name="connsiteY3" fmla="*/ 95 h 53435"/>
                    <a:gd name="connsiteX4" fmla="*/ 95 w 53435"/>
                    <a:gd name="connsiteY4" fmla="*/ 24479 h 53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35" h="53435">
                      <a:moveTo>
                        <a:pt x="95" y="24479"/>
                      </a:moveTo>
                      <a:cubicBezTo>
                        <a:pt x="-1143" y="39148"/>
                        <a:pt x="9811" y="52102"/>
                        <a:pt x="24479" y="53340"/>
                      </a:cubicBezTo>
                      <a:cubicBezTo>
                        <a:pt x="39148" y="54578"/>
                        <a:pt x="52102" y="43625"/>
                        <a:pt x="53340" y="28956"/>
                      </a:cubicBezTo>
                      <a:cubicBezTo>
                        <a:pt x="54578" y="14288"/>
                        <a:pt x="43624" y="1334"/>
                        <a:pt x="28956" y="95"/>
                      </a:cubicBezTo>
                      <a:cubicBezTo>
                        <a:pt x="14192" y="-1143"/>
                        <a:pt x="1334" y="9811"/>
                        <a:pt x="95" y="24479"/>
                      </a:cubicBezTo>
                      <a:close/>
                    </a:path>
                  </a:pathLst>
                </a:custGeom>
                <a:solidFill>
                  <a:srgbClr val="E8E7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6" name="iṣḷîḑê"/>
                <p:cNvSpPr/>
                <p:nvPr/>
              </p:nvSpPr>
              <p:spPr>
                <a:xfrm>
                  <a:off x="3014700" y="4735108"/>
                  <a:ext cx="40724" cy="40724"/>
                </a:xfrm>
                <a:custGeom>
                  <a:avLst/>
                  <a:gdLst>
                    <a:gd name="connsiteX0" fmla="*/ 74 w 40724"/>
                    <a:gd name="connsiteY0" fmla="*/ 18648 h 40724"/>
                    <a:gd name="connsiteX1" fmla="*/ 18648 w 40724"/>
                    <a:gd name="connsiteY1" fmla="*/ 40651 h 40724"/>
                    <a:gd name="connsiteX2" fmla="*/ 40650 w 40724"/>
                    <a:gd name="connsiteY2" fmla="*/ 22077 h 40724"/>
                    <a:gd name="connsiteX3" fmla="*/ 22076 w 40724"/>
                    <a:gd name="connsiteY3" fmla="*/ 75 h 40724"/>
                    <a:gd name="connsiteX4" fmla="*/ 74 w 40724"/>
                    <a:gd name="connsiteY4" fmla="*/ 18648 h 4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24" h="40724">
                      <a:moveTo>
                        <a:pt x="74" y="18648"/>
                      </a:moveTo>
                      <a:cubicBezTo>
                        <a:pt x="-879" y="29888"/>
                        <a:pt x="7503" y="39698"/>
                        <a:pt x="18648" y="40651"/>
                      </a:cubicBezTo>
                      <a:cubicBezTo>
                        <a:pt x="29887" y="41604"/>
                        <a:pt x="39698" y="33222"/>
                        <a:pt x="40650" y="22077"/>
                      </a:cubicBezTo>
                      <a:cubicBezTo>
                        <a:pt x="41603" y="10838"/>
                        <a:pt x="33221" y="1027"/>
                        <a:pt x="22076" y="75"/>
                      </a:cubicBezTo>
                      <a:cubicBezTo>
                        <a:pt x="10837" y="-878"/>
                        <a:pt x="1026" y="7409"/>
                        <a:pt x="74" y="18648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8" name="ïṡḷïdé"/>
              <p:cNvSpPr/>
              <p:nvPr/>
            </p:nvSpPr>
            <p:spPr>
              <a:xfrm>
                <a:off x="3192765" y="3912889"/>
                <a:ext cx="313213" cy="407593"/>
              </a:xfrm>
              <a:custGeom>
                <a:avLst/>
                <a:gdLst>
                  <a:gd name="connsiteX0" fmla="*/ 80614 w 313213"/>
                  <a:gd name="connsiteY0" fmla="*/ 397955 h 407593"/>
                  <a:gd name="connsiteX1" fmla="*/ 193008 w 313213"/>
                  <a:gd name="connsiteY1" fmla="*/ 407289 h 407593"/>
                  <a:gd name="connsiteX2" fmla="*/ 287973 w 313213"/>
                  <a:gd name="connsiteY2" fmla="*/ 326898 h 407593"/>
                  <a:gd name="connsiteX3" fmla="*/ 313214 w 313213"/>
                  <a:gd name="connsiteY3" fmla="*/ 23908 h 407593"/>
                  <a:gd name="connsiteX4" fmla="*/ 25559 w 313213"/>
                  <a:gd name="connsiteY4" fmla="*/ 0 h 407593"/>
                  <a:gd name="connsiteX5" fmla="*/ 318 w 313213"/>
                  <a:gd name="connsiteY5" fmla="*/ 302990 h 407593"/>
                  <a:gd name="connsiteX6" fmla="*/ 80614 w 313213"/>
                  <a:gd name="connsiteY6" fmla="*/ 397955 h 407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213" h="407593">
                    <a:moveTo>
                      <a:pt x="80614" y="397955"/>
                    </a:moveTo>
                    <a:lnTo>
                      <a:pt x="193008" y="407289"/>
                    </a:lnTo>
                    <a:cubicBezTo>
                      <a:pt x="241395" y="411289"/>
                      <a:pt x="283972" y="375380"/>
                      <a:pt x="287973" y="326898"/>
                    </a:cubicBezTo>
                    <a:lnTo>
                      <a:pt x="313214" y="23908"/>
                    </a:lnTo>
                    <a:lnTo>
                      <a:pt x="25559" y="0"/>
                    </a:lnTo>
                    <a:lnTo>
                      <a:pt x="318" y="302990"/>
                    </a:lnTo>
                    <a:cubicBezTo>
                      <a:pt x="-3778" y="351472"/>
                      <a:pt x="32226" y="393954"/>
                      <a:pt x="80614" y="397955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9" name="íşľïḋé"/>
              <p:cNvSpPr/>
              <p:nvPr/>
            </p:nvSpPr>
            <p:spPr>
              <a:xfrm>
                <a:off x="3130411" y="3354580"/>
                <a:ext cx="497748" cy="661716"/>
              </a:xfrm>
              <a:custGeom>
                <a:avLst/>
                <a:gdLst>
                  <a:gd name="connsiteX0" fmla="*/ 1901 w 497748"/>
                  <a:gd name="connsiteY0" fmla="*/ 356379 h 661716"/>
                  <a:gd name="connsiteX1" fmla="*/ 198879 w 497748"/>
                  <a:gd name="connsiteY1" fmla="*/ 660798 h 661716"/>
                  <a:gd name="connsiteX2" fmla="*/ 490248 w 497748"/>
                  <a:gd name="connsiteY2" fmla="*/ 397050 h 661716"/>
                  <a:gd name="connsiteX3" fmla="*/ 277269 w 497748"/>
                  <a:gd name="connsiteY3" fmla="*/ 1477 h 661716"/>
                  <a:gd name="connsiteX4" fmla="*/ 1901 w 497748"/>
                  <a:gd name="connsiteY4" fmla="*/ 356379 h 661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748" h="661716">
                    <a:moveTo>
                      <a:pt x="1901" y="356379"/>
                    </a:moveTo>
                    <a:cubicBezTo>
                      <a:pt x="-13338" y="539259"/>
                      <a:pt x="64005" y="649558"/>
                      <a:pt x="198879" y="660798"/>
                    </a:cubicBezTo>
                    <a:cubicBezTo>
                      <a:pt x="333753" y="672037"/>
                      <a:pt x="475104" y="579930"/>
                      <a:pt x="490248" y="397050"/>
                    </a:cubicBezTo>
                    <a:cubicBezTo>
                      <a:pt x="505488" y="214170"/>
                      <a:pt x="521490" y="21765"/>
                      <a:pt x="277269" y="1477"/>
                    </a:cubicBezTo>
                    <a:cubicBezTo>
                      <a:pt x="33143" y="-18811"/>
                      <a:pt x="17142" y="173499"/>
                      <a:pt x="1901" y="356379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0" name="îşḻídé"/>
              <p:cNvSpPr/>
              <p:nvPr/>
            </p:nvSpPr>
            <p:spPr>
              <a:xfrm>
                <a:off x="3588179" y="3669725"/>
                <a:ext cx="103791" cy="168392"/>
              </a:xfrm>
              <a:custGeom>
                <a:avLst/>
                <a:gdLst>
                  <a:gd name="connsiteX0" fmla="*/ 103346 w 103791"/>
                  <a:gd name="connsiteY0" fmla="*/ 72857 h 168392"/>
                  <a:gd name="connsiteX1" fmla="*/ 0 w 103791"/>
                  <a:gd name="connsiteY1" fmla="*/ 168393 h 168392"/>
                  <a:gd name="connsiteX2" fmla="*/ 13811 w 103791"/>
                  <a:gd name="connsiteY2" fmla="*/ 2944 h 168392"/>
                  <a:gd name="connsiteX3" fmla="*/ 103346 w 103791"/>
                  <a:gd name="connsiteY3" fmla="*/ 72857 h 168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791" h="168392">
                    <a:moveTo>
                      <a:pt x="103346" y="72857"/>
                    </a:moveTo>
                    <a:cubicBezTo>
                      <a:pt x="95440" y="167631"/>
                      <a:pt x="0" y="168393"/>
                      <a:pt x="0" y="168393"/>
                    </a:cubicBezTo>
                    <a:lnTo>
                      <a:pt x="13811" y="2944"/>
                    </a:lnTo>
                    <a:cubicBezTo>
                      <a:pt x="13716" y="2944"/>
                      <a:pt x="111157" y="-21917"/>
                      <a:pt x="103346" y="72857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íṥ1íďè"/>
              <p:cNvSpPr/>
              <p:nvPr/>
            </p:nvSpPr>
            <p:spPr>
              <a:xfrm>
                <a:off x="3608658" y="3709322"/>
                <a:ext cx="50555" cy="90696"/>
              </a:xfrm>
              <a:custGeom>
                <a:avLst/>
                <a:gdLst>
                  <a:gd name="connsiteX0" fmla="*/ 50292 w 50555"/>
                  <a:gd name="connsiteY0" fmla="*/ 38880 h 90696"/>
                  <a:gd name="connsiteX1" fmla="*/ 0 w 50555"/>
                  <a:gd name="connsiteY1" fmla="*/ 90696 h 90696"/>
                  <a:gd name="connsiteX2" fmla="*/ 7429 w 50555"/>
                  <a:gd name="connsiteY2" fmla="*/ 1637 h 90696"/>
                  <a:gd name="connsiteX3" fmla="*/ 50292 w 50555"/>
                  <a:gd name="connsiteY3" fmla="*/ 38880 h 9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55" h="90696">
                    <a:moveTo>
                      <a:pt x="50292" y="38880"/>
                    </a:moveTo>
                    <a:cubicBezTo>
                      <a:pt x="46006" y="89934"/>
                      <a:pt x="0" y="90696"/>
                      <a:pt x="0" y="90696"/>
                    </a:cubicBezTo>
                    <a:lnTo>
                      <a:pt x="7429" y="1637"/>
                    </a:lnTo>
                    <a:cubicBezTo>
                      <a:pt x="7334" y="1733"/>
                      <a:pt x="54483" y="-12079"/>
                      <a:pt x="50292" y="38880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îsḷiḍê"/>
              <p:cNvSpPr/>
              <p:nvPr/>
            </p:nvSpPr>
            <p:spPr>
              <a:xfrm>
                <a:off x="3439619" y="3654415"/>
                <a:ext cx="66520" cy="49651"/>
              </a:xfrm>
              <a:custGeom>
                <a:avLst/>
                <a:gdLst>
                  <a:gd name="connsiteX0" fmla="*/ 66455 w 66520"/>
                  <a:gd name="connsiteY0" fmla="*/ 27588 h 49651"/>
                  <a:gd name="connsiteX1" fmla="*/ 31212 w 66520"/>
                  <a:gd name="connsiteY1" fmla="*/ 49496 h 49651"/>
                  <a:gd name="connsiteX2" fmla="*/ 65 w 66520"/>
                  <a:gd name="connsiteY2" fmla="*/ 22064 h 49651"/>
                  <a:gd name="connsiteX3" fmla="*/ 35308 w 66520"/>
                  <a:gd name="connsiteY3" fmla="*/ 156 h 49651"/>
                  <a:gd name="connsiteX4" fmla="*/ 66455 w 66520"/>
                  <a:gd name="connsiteY4" fmla="*/ 27588 h 49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20" h="49651">
                    <a:moveTo>
                      <a:pt x="66455" y="27588"/>
                    </a:moveTo>
                    <a:cubicBezTo>
                      <a:pt x="65312" y="41209"/>
                      <a:pt x="49595" y="51020"/>
                      <a:pt x="31212" y="49496"/>
                    </a:cubicBezTo>
                    <a:cubicBezTo>
                      <a:pt x="12924" y="47972"/>
                      <a:pt x="-1078" y="35684"/>
                      <a:pt x="65" y="22064"/>
                    </a:cubicBezTo>
                    <a:cubicBezTo>
                      <a:pt x="1208" y="8443"/>
                      <a:pt x="16924" y="-1368"/>
                      <a:pt x="35308" y="156"/>
                    </a:cubicBezTo>
                    <a:cubicBezTo>
                      <a:pt x="53691" y="1680"/>
                      <a:pt x="67598" y="13967"/>
                      <a:pt x="66455" y="275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íŝḷïḑê"/>
              <p:cNvSpPr/>
              <p:nvPr/>
            </p:nvSpPr>
            <p:spPr>
              <a:xfrm>
                <a:off x="3206066" y="3634984"/>
                <a:ext cx="66520" cy="49651"/>
              </a:xfrm>
              <a:custGeom>
                <a:avLst/>
                <a:gdLst>
                  <a:gd name="connsiteX0" fmla="*/ 66455 w 66520"/>
                  <a:gd name="connsiteY0" fmla="*/ 27588 h 49651"/>
                  <a:gd name="connsiteX1" fmla="*/ 31212 w 66520"/>
                  <a:gd name="connsiteY1" fmla="*/ 49496 h 49651"/>
                  <a:gd name="connsiteX2" fmla="*/ 65 w 66520"/>
                  <a:gd name="connsiteY2" fmla="*/ 22064 h 49651"/>
                  <a:gd name="connsiteX3" fmla="*/ 35308 w 66520"/>
                  <a:gd name="connsiteY3" fmla="*/ 156 h 49651"/>
                  <a:gd name="connsiteX4" fmla="*/ 66455 w 66520"/>
                  <a:gd name="connsiteY4" fmla="*/ 27588 h 49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20" h="49651">
                    <a:moveTo>
                      <a:pt x="66455" y="27588"/>
                    </a:moveTo>
                    <a:cubicBezTo>
                      <a:pt x="65312" y="41209"/>
                      <a:pt x="49595" y="51020"/>
                      <a:pt x="31212" y="49496"/>
                    </a:cubicBezTo>
                    <a:cubicBezTo>
                      <a:pt x="12924" y="47972"/>
                      <a:pt x="-1078" y="35684"/>
                      <a:pt x="65" y="22064"/>
                    </a:cubicBezTo>
                    <a:cubicBezTo>
                      <a:pt x="1209" y="8443"/>
                      <a:pt x="16925" y="-1368"/>
                      <a:pt x="35308" y="156"/>
                    </a:cubicBezTo>
                    <a:cubicBezTo>
                      <a:pt x="53691" y="1680"/>
                      <a:pt x="67598" y="13967"/>
                      <a:pt x="66455" y="275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iṡļídè"/>
              <p:cNvSpPr/>
              <p:nvPr/>
            </p:nvSpPr>
            <p:spPr>
              <a:xfrm>
                <a:off x="3446766" y="3656033"/>
                <a:ext cx="39571" cy="39558"/>
              </a:xfrm>
              <a:custGeom>
                <a:avLst/>
                <a:gdLst>
                  <a:gd name="connsiteX0" fmla="*/ 39496 w 39571"/>
                  <a:gd name="connsiteY0" fmla="*/ 21398 h 39558"/>
                  <a:gd name="connsiteX1" fmla="*/ 18160 w 39571"/>
                  <a:gd name="connsiteY1" fmla="*/ 39496 h 39558"/>
                  <a:gd name="connsiteX2" fmla="*/ 62 w 39571"/>
                  <a:gd name="connsiteY2" fmla="*/ 18160 h 39558"/>
                  <a:gd name="connsiteX3" fmla="*/ 21398 w 39571"/>
                  <a:gd name="connsiteY3" fmla="*/ 62 h 39558"/>
                  <a:gd name="connsiteX4" fmla="*/ 39496 w 39571"/>
                  <a:gd name="connsiteY4" fmla="*/ 21398 h 39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71" h="39558">
                    <a:moveTo>
                      <a:pt x="39496" y="21398"/>
                    </a:moveTo>
                    <a:cubicBezTo>
                      <a:pt x="38543" y="32257"/>
                      <a:pt x="29018" y="40353"/>
                      <a:pt x="18160" y="39496"/>
                    </a:cubicBezTo>
                    <a:cubicBezTo>
                      <a:pt x="7301" y="38543"/>
                      <a:pt x="-795" y="29018"/>
                      <a:pt x="62" y="18160"/>
                    </a:cubicBezTo>
                    <a:cubicBezTo>
                      <a:pt x="1015" y="7301"/>
                      <a:pt x="10540" y="-795"/>
                      <a:pt x="21398" y="62"/>
                    </a:cubicBezTo>
                    <a:cubicBezTo>
                      <a:pt x="32352" y="920"/>
                      <a:pt x="40448" y="10445"/>
                      <a:pt x="39496" y="21398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îṣḻîḋè"/>
              <p:cNvSpPr/>
              <p:nvPr/>
            </p:nvSpPr>
            <p:spPr>
              <a:xfrm>
                <a:off x="3213213" y="3636602"/>
                <a:ext cx="39572" cy="39558"/>
              </a:xfrm>
              <a:custGeom>
                <a:avLst/>
                <a:gdLst>
                  <a:gd name="connsiteX0" fmla="*/ 39496 w 39572"/>
                  <a:gd name="connsiteY0" fmla="*/ 21398 h 39558"/>
                  <a:gd name="connsiteX1" fmla="*/ 18160 w 39572"/>
                  <a:gd name="connsiteY1" fmla="*/ 39496 h 39558"/>
                  <a:gd name="connsiteX2" fmla="*/ 62 w 39572"/>
                  <a:gd name="connsiteY2" fmla="*/ 18160 h 39558"/>
                  <a:gd name="connsiteX3" fmla="*/ 21398 w 39572"/>
                  <a:gd name="connsiteY3" fmla="*/ 62 h 39558"/>
                  <a:gd name="connsiteX4" fmla="*/ 39496 w 39572"/>
                  <a:gd name="connsiteY4" fmla="*/ 21398 h 39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72" h="39558">
                    <a:moveTo>
                      <a:pt x="39496" y="21398"/>
                    </a:moveTo>
                    <a:cubicBezTo>
                      <a:pt x="38543" y="32257"/>
                      <a:pt x="29018" y="40353"/>
                      <a:pt x="18160" y="39496"/>
                    </a:cubicBezTo>
                    <a:cubicBezTo>
                      <a:pt x="7301" y="38543"/>
                      <a:pt x="-795" y="29018"/>
                      <a:pt x="62" y="18160"/>
                    </a:cubicBezTo>
                    <a:cubicBezTo>
                      <a:pt x="1015" y="7301"/>
                      <a:pt x="10540" y="-795"/>
                      <a:pt x="21398" y="62"/>
                    </a:cubicBezTo>
                    <a:cubicBezTo>
                      <a:pt x="32352" y="920"/>
                      <a:pt x="40448" y="10445"/>
                      <a:pt x="39496" y="21398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îṥļiḋê"/>
              <p:cNvSpPr/>
              <p:nvPr/>
            </p:nvSpPr>
            <p:spPr>
              <a:xfrm>
                <a:off x="3301586" y="3686480"/>
                <a:ext cx="55136" cy="131445"/>
              </a:xfrm>
              <a:custGeom>
                <a:avLst/>
                <a:gdLst>
                  <a:gd name="connsiteX0" fmla="*/ 55136 w 55136"/>
                  <a:gd name="connsiteY0" fmla="*/ 0 h 131445"/>
                  <a:gd name="connsiteX1" fmla="*/ 44182 w 55136"/>
                  <a:gd name="connsiteY1" fmla="*/ 131445 h 131445"/>
                  <a:gd name="connsiteX2" fmla="*/ 55136 w 55136"/>
                  <a:gd name="connsiteY2" fmla="*/ 0 h 131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136" h="131445">
                    <a:moveTo>
                      <a:pt x="55136" y="0"/>
                    </a:moveTo>
                    <a:lnTo>
                      <a:pt x="44182" y="131445"/>
                    </a:lnTo>
                    <a:cubicBezTo>
                      <a:pt x="-61259" y="122682"/>
                      <a:pt x="55136" y="0"/>
                      <a:pt x="55136" y="0"/>
                    </a:cubicBezTo>
                    <a:close/>
                  </a:path>
                </a:pathLst>
              </a:custGeom>
              <a:solidFill>
                <a:srgbClr val="F3979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ïṥľiḋê"/>
              <p:cNvSpPr/>
              <p:nvPr/>
            </p:nvSpPr>
            <p:spPr>
              <a:xfrm>
                <a:off x="3285379" y="3855072"/>
                <a:ext cx="113728" cy="18055"/>
              </a:xfrm>
              <a:custGeom>
                <a:avLst/>
                <a:gdLst>
                  <a:gd name="connsiteX0" fmla="*/ 113729 w 113728"/>
                  <a:gd name="connsiteY0" fmla="*/ 9430 h 18055"/>
                  <a:gd name="connsiteX1" fmla="*/ 0 w 113728"/>
                  <a:gd name="connsiteY1" fmla="*/ 0 h 18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28" h="18055">
                    <a:moveTo>
                      <a:pt x="113729" y="9430"/>
                    </a:moveTo>
                    <a:cubicBezTo>
                      <a:pt x="113729" y="9430"/>
                      <a:pt x="54388" y="34099"/>
                      <a:pt x="0" y="0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î$ļíḍè"/>
              <p:cNvSpPr/>
              <p:nvPr/>
            </p:nvSpPr>
            <p:spPr>
              <a:xfrm>
                <a:off x="3439780" y="3628835"/>
                <a:ext cx="72675" cy="15163"/>
              </a:xfrm>
              <a:custGeom>
                <a:avLst/>
                <a:gdLst>
                  <a:gd name="connsiteX0" fmla="*/ 0 w 72675"/>
                  <a:gd name="connsiteY0" fmla="*/ 9068 h 15163"/>
                  <a:gd name="connsiteX1" fmla="*/ 72676 w 72675"/>
                  <a:gd name="connsiteY1" fmla="*/ 15164 h 1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75" h="15163">
                    <a:moveTo>
                      <a:pt x="0" y="9068"/>
                    </a:moveTo>
                    <a:cubicBezTo>
                      <a:pt x="0" y="9068"/>
                      <a:pt x="38576" y="-14935"/>
                      <a:pt x="72676" y="1516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ïṥľiḍé"/>
              <p:cNvSpPr/>
              <p:nvPr/>
            </p:nvSpPr>
            <p:spPr>
              <a:xfrm>
                <a:off x="3206227" y="3609403"/>
                <a:ext cx="72675" cy="15163"/>
              </a:xfrm>
              <a:custGeom>
                <a:avLst/>
                <a:gdLst>
                  <a:gd name="connsiteX0" fmla="*/ 0 w 72675"/>
                  <a:gd name="connsiteY0" fmla="*/ 9068 h 15163"/>
                  <a:gd name="connsiteX1" fmla="*/ 72676 w 72675"/>
                  <a:gd name="connsiteY1" fmla="*/ 15164 h 1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75" h="15163">
                    <a:moveTo>
                      <a:pt x="0" y="9068"/>
                    </a:moveTo>
                    <a:cubicBezTo>
                      <a:pt x="0" y="9068"/>
                      <a:pt x="38576" y="-14935"/>
                      <a:pt x="72676" y="1516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isľïďè"/>
              <p:cNvSpPr/>
              <p:nvPr/>
            </p:nvSpPr>
            <p:spPr>
              <a:xfrm>
                <a:off x="3438256" y="3732581"/>
                <a:ext cx="140779" cy="140779"/>
              </a:xfrm>
              <a:custGeom>
                <a:avLst/>
                <a:gdLst>
                  <a:gd name="connsiteX0" fmla="*/ 140780 w 140779"/>
                  <a:gd name="connsiteY0" fmla="*/ 70390 h 140779"/>
                  <a:gd name="connsiteX1" fmla="*/ 70390 w 140779"/>
                  <a:gd name="connsiteY1" fmla="*/ 140780 h 140779"/>
                  <a:gd name="connsiteX2" fmla="*/ 0 w 140779"/>
                  <a:gd name="connsiteY2" fmla="*/ 70390 h 140779"/>
                  <a:gd name="connsiteX3" fmla="*/ 70390 w 140779"/>
                  <a:gd name="connsiteY3" fmla="*/ 0 h 140779"/>
                  <a:gd name="connsiteX4" fmla="*/ 140780 w 140779"/>
                  <a:gd name="connsiteY4" fmla="*/ 70390 h 1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779" h="140779">
                    <a:moveTo>
                      <a:pt x="140780" y="70390"/>
                    </a:moveTo>
                    <a:cubicBezTo>
                      <a:pt x="140780" y="109265"/>
                      <a:pt x="109265" y="140780"/>
                      <a:pt x="70390" y="140780"/>
                    </a:cubicBezTo>
                    <a:cubicBezTo>
                      <a:pt x="31514" y="140780"/>
                      <a:pt x="0" y="109265"/>
                      <a:pt x="0" y="70390"/>
                    </a:cubicBezTo>
                    <a:cubicBezTo>
                      <a:pt x="0" y="31515"/>
                      <a:pt x="31514" y="0"/>
                      <a:pt x="70390" y="0"/>
                    </a:cubicBezTo>
                    <a:cubicBezTo>
                      <a:pt x="109265" y="0"/>
                      <a:pt x="140780" y="31515"/>
                      <a:pt x="140780" y="70390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îSḻíḍê"/>
              <p:cNvSpPr/>
              <p:nvPr/>
            </p:nvSpPr>
            <p:spPr>
              <a:xfrm>
                <a:off x="3130612" y="3705090"/>
                <a:ext cx="118725" cy="140801"/>
              </a:xfrm>
              <a:custGeom>
                <a:avLst/>
                <a:gdLst>
                  <a:gd name="connsiteX0" fmla="*/ 54183 w 118725"/>
                  <a:gd name="connsiteY0" fmla="*/ 249 h 140801"/>
                  <a:gd name="connsiteX1" fmla="*/ 118477 w 118725"/>
                  <a:gd name="connsiteY1" fmla="*/ 76259 h 140801"/>
                  <a:gd name="connsiteX2" fmla="*/ 42467 w 118725"/>
                  <a:gd name="connsiteY2" fmla="*/ 140553 h 140801"/>
                  <a:gd name="connsiteX3" fmla="*/ 6748 w 118725"/>
                  <a:gd name="connsiteY3" fmla="*/ 126932 h 140801"/>
                  <a:gd name="connsiteX4" fmla="*/ 1034 w 118725"/>
                  <a:gd name="connsiteY4" fmla="*/ 18442 h 140801"/>
                  <a:gd name="connsiteX5" fmla="*/ 54183 w 118725"/>
                  <a:gd name="connsiteY5" fmla="*/ 249 h 140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725" h="140801">
                    <a:moveTo>
                      <a:pt x="54183" y="249"/>
                    </a:moveTo>
                    <a:cubicBezTo>
                      <a:pt x="92950" y="3488"/>
                      <a:pt x="121715" y="37492"/>
                      <a:pt x="118477" y="76259"/>
                    </a:cubicBezTo>
                    <a:cubicBezTo>
                      <a:pt x="115238" y="115026"/>
                      <a:pt x="81234" y="143791"/>
                      <a:pt x="42467" y="140553"/>
                    </a:cubicBezTo>
                    <a:cubicBezTo>
                      <a:pt x="29037" y="139410"/>
                      <a:pt x="16845" y="134457"/>
                      <a:pt x="6748" y="126932"/>
                    </a:cubicBezTo>
                    <a:cubicBezTo>
                      <a:pt x="557" y="94642"/>
                      <a:pt x="-1443" y="58257"/>
                      <a:pt x="1034" y="18442"/>
                    </a:cubicBezTo>
                    <a:cubicBezTo>
                      <a:pt x="14940" y="5774"/>
                      <a:pt x="33800" y="-1465"/>
                      <a:pt x="54183" y="249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íśļîḋe"/>
              <p:cNvSpPr/>
              <p:nvPr/>
            </p:nvSpPr>
            <p:spPr>
              <a:xfrm>
                <a:off x="3065733" y="3309937"/>
                <a:ext cx="576151" cy="359302"/>
              </a:xfrm>
              <a:custGeom>
                <a:avLst/>
                <a:gdLst>
                  <a:gd name="connsiteX0" fmla="*/ 0 w 576151"/>
                  <a:gd name="connsiteY0" fmla="*/ 310630 h 359302"/>
                  <a:gd name="connsiteX1" fmla="*/ 480251 w 576151"/>
                  <a:gd name="connsiteY1" fmla="*/ 145752 h 359302"/>
                  <a:gd name="connsiteX2" fmla="*/ 561785 w 576151"/>
                  <a:gd name="connsiteY2" fmla="*/ 359303 h 359302"/>
                  <a:gd name="connsiteX3" fmla="*/ 345662 w 576151"/>
                  <a:gd name="connsiteY3" fmla="*/ 1448 h 359302"/>
                  <a:gd name="connsiteX4" fmla="*/ 0 w 576151"/>
                  <a:gd name="connsiteY4" fmla="*/ 310630 h 35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151" h="359302">
                    <a:moveTo>
                      <a:pt x="0" y="310630"/>
                    </a:moveTo>
                    <a:cubicBezTo>
                      <a:pt x="0" y="310630"/>
                      <a:pt x="235458" y="352921"/>
                      <a:pt x="480251" y="145752"/>
                    </a:cubicBezTo>
                    <a:cubicBezTo>
                      <a:pt x="469583" y="273959"/>
                      <a:pt x="561785" y="359303"/>
                      <a:pt x="561785" y="359303"/>
                    </a:cubicBezTo>
                    <a:cubicBezTo>
                      <a:pt x="561785" y="359303"/>
                      <a:pt x="659416" y="27547"/>
                      <a:pt x="345662" y="1448"/>
                    </a:cubicBezTo>
                    <a:cubicBezTo>
                      <a:pt x="31909" y="-24650"/>
                      <a:pt x="0" y="310630"/>
                      <a:pt x="0" y="310630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îš1îḑê"/>
              <p:cNvSpPr/>
              <p:nvPr/>
            </p:nvSpPr>
            <p:spPr>
              <a:xfrm>
                <a:off x="2691972" y="5752071"/>
                <a:ext cx="270891" cy="249459"/>
              </a:xfrm>
              <a:custGeom>
                <a:avLst/>
                <a:gdLst>
                  <a:gd name="connsiteX0" fmla="*/ 0 w 270891"/>
                  <a:gd name="connsiteY0" fmla="*/ 178879 h 249459"/>
                  <a:gd name="connsiteX1" fmla="*/ 211264 w 270891"/>
                  <a:gd name="connsiteY1" fmla="*/ 0 h 249459"/>
                  <a:gd name="connsiteX2" fmla="*/ 270891 w 270891"/>
                  <a:gd name="connsiteY2" fmla="*/ 70390 h 249459"/>
                  <a:gd name="connsiteX3" fmla="*/ 59246 w 270891"/>
                  <a:gd name="connsiteY3" fmla="*/ 249460 h 2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0891" h="249459">
                    <a:moveTo>
                      <a:pt x="0" y="178879"/>
                    </a:moveTo>
                    <a:lnTo>
                      <a:pt x="211264" y="0"/>
                    </a:lnTo>
                    <a:lnTo>
                      <a:pt x="270891" y="70390"/>
                    </a:lnTo>
                    <a:lnTo>
                      <a:pt x="59246" y="24946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ï$líďé"/>
              <p:cNvSpPr/>
              <p:nvPr/>
            </p:nvSpPr>
            <p:spPr>
              <a:xfrm>
                <a:off x="3427016" y="5801506"/>
                <a:ext cx="249174" cy="271176"/>
              </a:xfrm>
              <a:custGeom>
                <a:avLst/>
                <a:gdLst>
                  <a:gd name="connsiteX0" fmla="*/ 249174 w 249174"/>
                  <a:gd name="connsiteY0" fmla="*/ 211264 h 271176"/>
                  <a:gd name="connsiteX1" fmla="*/ 70390 w 249174"/>
                  <a:gd name="connsiteY1" fmla="*/ 0 h 271176"/>
                  <a:gd name="connsiteX2" fmla="*/ 0 w 249174"/>
                  <a:gd name="connsiteY2" fmla="*/ 59627 h 271176"/>
                  <a:gd name="connsiteX3" fmla="*/ 179070 w 249174"/>
                  <a:gd name="connsiteY3" fmla="*/ 271177 h 27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74" h="271176">
                    <a:moveTo>
                      <a:pt x="249174" y="211264"/>
                    </a:moveTo>
                    <a:lnTo>
                      <a:pt x="70390" y="0"/>
                    </a:lnTo>
                    <a:lnTo>
                      <a:pt x="0" y="59627"/>
                    </a:lnTo>
                    <a:lnTo>
                      <a:pt x="179070" y="271177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iṣlïde"/>
              <p:cNvSpPr/>
              <p:nvPr/>
            </p:nvSpPr>
            <p:spPr>
              <a:xfrm>
                <a:off x="2691972" y="5752071"/>
                <a:ext cx="211264" cy="178879"/>
              </a:xfrm>
              <a:custGeom>
                <a:avLst/>
                <a:gdLst>
                  <a:gd name="connsiteX0" fmla="*/ 0 w 211264"/>
                  <a:gd name="connsiteY0" fmla="*/ 178879 h 178879"/>
                  <a:gd name="connsiteX1" fmla="*/ 211264 w 211264"/>
                  <a:gd name="connsiteY1" fmla="*/ 0 h 178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264" h="178879">
                    <a:moveTo>
                      <a:pt x="0" y="178879"/>
                    </a:moveTo>
                    <a:lnTo>
                      <a:pt x="211264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îşḷiḓe"/>
              <p:cNvSpPr/>
              <p:nvPr/>
            </p:nvSpPr>
            <p:spPr>
              <a:xfrm>
                <a:off x="3497406" y="5801506"/>
                <a:ext cx="178784" cy="211264"/>
              </a:xfrm>
              <a:custGeom>
                <a:avLst/>
                <a:gdLst>
                  <a:gd name="connsiteX0" fmla="*/ 0 w 178784"/>
                  <a:gd name="connsiteY0" fmla="*/ 0 h 211264"/>
                  <a:gd name="connsiteX1" fmla="*/ 178784 w 178784"/>
                  <a:gd name="connsiteY1" fmla="*/ 211264 h 211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784" h="211264">
                    <a:moveTo>
                      <a:pt x="0" y="0"/>
                    </a:moveTo>
                    <a:lnTo>
                      <a:pt x="178784" y="211264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7" name="iśḷîde"/>
              <p:cNvSpPr/>
              <p:nvPr/>
            </p:nvSpPr>
            <p:spPr>
              <a:xfrm>
                <a:off x="3130312" y="3647715"/>
                <a:ext cx="505204" cy="377267"/>
              </a:xfrm>
              <a:custGeom>
                <a:avLst/>
                <a:gdLst>
                  <a:gd name="connsiteX0" fmla="*/ 473393 w 505204"/>
                  <a:gd name="connsiteY0" fmla="*/ 187736 h 377267"/>
                  <a:gd name="connsiteX1" fmla="*/ 460820 w 505204"/>
                  <a:gd name="connsiteY1" fmla="*/ 223550 h 377267"/>
                  <a:gd name="connsiteX2" fmla="*/ 422053 w 505204"/>
                  <a:gd name="connsiteY2" fmla="*/ 122966 h 377267"/>
                  <a:gd name="connsiteX3" fmla="*/ 504349 w 505204"/>
                  <a:gd name="connsiteY3" fmla="*/ 7523 h 377267"/>
                  <a:gd name="connsiteX4" fmla="*/ 503111 w 505204"/>
                  <a:gd name="connsiteY4" fmla="*/ 856 h 377267"/>
                  <a:gd name="connsiteX5" fmla="*/ 496253 w 505204"/>
                  <a:gd name="connsiteY5" fmla="*/ 2094 h 377267"/>
                  <a:gd name="connsiteX6" fmla="*/ 414528 w 505204"/>
                  <a:gd name="connsiteY6" fmla="*/ 116584 h 377267"/>
                  <a:gd name="connsiteX7" fmla="*/ 243269 w 505204"/>
                  <a:gd name="connsiteY7" fmla="*/ 102297 h 377267"/>
                  <a:gd name="connsiteX8" fmla="*/ 0 w 505204"/>
                  <a:gd name="connsiteY8" fmla="*/ 87533 h 377267"/>
                  <a:gd name="connsiteX9" fmla="*/ 5429 w 505204"/>
                  <a:gd name="connsiteY9" fmla="*/ 203262 h 377267"/>
                  <a:gd name="connsiteX10" fmla="*/ 214217 w 505204"/>
                  <a:gd name="connsiteY10" fmla="*/ 376427 h 377267"/>
                  <a:gd name="connsiteX11" fmla="*/ 463010 w 505204"/>
                  <a:gd name="connsiteY11" fmla="*/ 240600 h 377267"/>
                  <a:gd name="connsiteX12" fmla="*/ 463391 w 505204"/>
                  <a:gd name="connsiteY12" fmla="*/ 240790 h 377267"/>
                  <a:gd name="connsiteX13" fmla="*/ 483394 w 505204"/>
                  <a:gd name="connsiteY13" fmla="*/ 189070 h 377267"/>
                  <a:gd name="connsiteX14" fmla="*/ 473393 w 505204"/>
                  <a:gd name="connsiteY14" fmla="*/ 187736 h 37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5204" h="377267">
                    <a:moveTo>
                      <a:pt x="473393" y="187736"/>
                    </a:moveTo>
                    <a:cubicBezTo>
                      <a:pt x="473393" y="187736"/>
                      <a:pt x="464248" y="215644"/>
                      <a:pt x="460820" y="223550"/>
                    </a:cubicBezTo>
                    <a:cubicBezTo>
                      <a:pt x="435673" y="180402"/>
                      <a:pt x="425196" y="138111"/>
                      <a:pt x="422053" y="122966"/>
                    </a:cubicBezTo>
                    <a:lnTo>
                      <a:pt x="504349" y="7523"/>
                    </a:lnTo>
                    <a:cubicBezTo>
                      <a:pt x="505873" y="5332"/>
                      <a:pt x="505301" y="2380"/>
                      <a:pt x="503111" y="856"/>
                    </a:cubicBezTo>
                    <a:cubicBezTo>
                      <a:pt x="500825" y="-668"/>
                      <a:pt x="497777" y="-97"/>
                      <a:pt x="496253" y="2094"/>
                    </a:cubicBezTo>
                    <a:lnTo>
                      <a:pt x="414528" y="116584"/>
                    </a:lnTo>
                    <a:lnTo>
                      <a:pt x="243269" y="102297"/>
                    </a:lnTo>
                    <a:lnTo>
                      <a:pt x="0" y="87533"/>
                    </a:lnTo>
                    <a:cubicBezTo>
                      <a:pt x="0" y="87533"/>
                      <a:pt x="571" y="174877"/>
                      <a:pt x="5429" y="203262"/>
                    </a:cubicBezTo>
                    <a:cubicBezTo>
                      <a:pt x="21622" y="297655"/>
                      <a:pt x="109919" y="367759"/>
                      <a:pt x="214217" y="376427"/>
                    </a:cubicBezTo>
                    <a:cubicBezTo>
                      <a:pt x="318516" y="385094"/>
                      <a:pt x="419386" y="325849"/>
                      <a:pt x="463010" y="240600"/>
                    </a:cubicBezTo>
                    <a:lnTo>
                      <a:pt x="463391" y="240790"/>
                    </a:lnTo>
                    <a:cubicBezTo>
                      <a:pt x="463868" y="239933"/>
                      <a:pt x="483394" y="189070"/>
                      <a:pt x="483394" y="189070"/>
                    </a:cubicBezTo>
                    <a:lnTo>
                      <a:pt x="473393" y="187736"/>
                    </a:ln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8" name="图形 278"/>
              <p:cNvGrpSpPr/>
              <p:nvPr/>
            </p:nvGrpSpPr>
            <p:grpSpPr>
              <a:xfrm>
                <a:off x="3092308" y="3140768"/>
                <a:ext cx="642175" cy="354830"/>
                <a:chOff x="3092308" y="3140768"/>
                <a:chExt cx="642175" cy="354830"/>
              </a:xfrm>
              <a:solidFill>
                <a:schemeClr val="accent1"/>
              </a:solidFill>
            </p:grpSpPr>
            <p:sp>
              <p:nvSpPr>
                <p:cNvPr id="189" name="ïslíḍé"/>
                <p:cNvSpPr/>
                <p:nvPr/>
              </p:nvSpPr>
              <p:spPr>
                <a:xfrm>
                  <a:off x="3092308" y="3140768"/>
                  <a:ext cx="642175" cy="354830"/>
                </a:xfrm>
                <a:custGeom>
                  <a:avLst/>
                  <a:gdLst>
                    <a:gd name="connsiteX0" fmla="*/ 517017 w 642175"/>
                    <a:gd name="connsiteY0" fmla="*/ 354831 h 354830"/>
                    <a:gd name="connsiteX1" fmla="*/ 78200 w 642175"/>
                    <a:gd name="connsiteY1" fmla="*/ 318350 h 354830"/>
                    <a:gd name="connsiteX2" fmla="*/ 0 w 642175"/>
                    <a:gd name="connsiteY2" fmla="*/ 27742 h 354830"/>
                    <a:gd name="connsiteX3" fmla="*/ 642175 w 642175"/>
                    <a:gd name="connsiteY3" fmla="*/ 81177 h 354830"/>
                    <a:gd name="connsiteX4" fmla="*/ 517017 w 642175"/>
                    <a:gd name="connsiteY4" fmla="*/ 354831 h 354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2175" h="354830">
                      <a:moveTo>
                        <a:pt x="517017" y="354831"/>
                      </a:moveTo>
                      <a:cubicBezTo>
                        <a:pt x="377857" y="298538"/>
                        <a:pt x="224790" y="285774"/>
                        <a:pt x="78200" y="318350"/>
                      </a:cubicBezTo>
                      <a:cubicBezTo>
                        <a:pt x="53340" y="221195"/>
                        <a:pt x="27337" y="124326"/>
                        <a:pt x="0" y="27742"/>
                      </a:cubicBezTo>
                      <a:cubicBezTo>
                        <a:pt x="214313" y="-22740"/>
                        <a:pt x="439103" y="-3976"/>
                        <a:pt x="642175" y="81177"/>
                      </a:cubicBezTo>
                      <a:cubicBezTo>
                        <a:pt x="599313" y="171855"/>
                        <a:pt x="557594" y="263010"/>
                        <a:pt x="517017" y="354831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0" name="îśļîďé"/>
                <p:cNvSpPr/>
                <p:nvPr/>
              </p:nvSpPr>
              <p:spPr>
                <a:xfrm>
                  <a:off x="3309287" y="3201943"/>
                  <a:ext cx="191261" cy="191262"/>
                </a:xfrm>
                <a:custGeom>
                  <a:avLst/>
                  <a:gdLst>
                    <a:gd name="connsiteX0" fmla="*/ 191262 w 191261"/>
                    <a:gd name="connsiteY0" fmla="*/ 67723 h 191262"/>
                    <a:gd name="connsiteX1" fmla="*/ 134207 w 191261"/>
                    <a:gd name="connsiteY1" fmla="*/ 62960 h 191262"/>
                    <a:gd name="connsiteX2" fmla="*/ 138970 w 191261"/>
                    <a:gd name="connsiteY2" fmla="*/ 6001 h 191262"/>
                    <a:gd name="connsiteX3" fmla="*/ 67723 w 191261"/>
                    <a:gd name="connsiteY3" fmla="*/ 0 h 191262"/>
                    <a:gd name="connsiteX4" fmla="*/ 62960 w 191261"/>
                    <a:gd name="connsiteY4" fmla="*/ 57055 h 191262"/>
                    <a:gd name="connsiteX5" fmla="*/ 6001 w 191261"/>
                    <a:gd name="connsiteY5" fmla="*/ 52292 h 191262"/>
                    <a:gd name="connsiteX6" fmla="*/ 0 w 191261"/>
                    <a:gd name="connsiteY6" fmla="*/ 123539 h 191262"/>
                    <a:gd name="connsiteX7" fmla="*/ 57055 w 191261"/>
                    <a:gd name="connsiteY7" fmla="*/ 128302 h 191262"/>
                    <a:gd name="connsiteX8" fmla="*/ 52292 w 191261"/>
                    <a:gd name="connsiteY8" fmla="*/ 185261 h 191262"/>
                    <a:gd name="connsiteX9" fmla="*/ 123539 w 191261"/>
                    <a:gd name="connsiteY9" fmla="*/ 191262 h 191262"/>
                    <a:gd name="connsiteX10" fmla="*/ 128302 w 191261"/>
                    <a:gd name="connsiteY10" fmla="*/ 134207 h 191262"/>
                    <a:gd name="connsiteX11" fmla="*/ 185261 w 191261"/>
                    <a:gd name="connsiteY11" fmla="*/ 138970 h 191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1261" h="191262">
                      <a:moveTo>
                        <a:pt x="191262" y="67723"/>
                      </a:moveTo>
                      <a:lnTo>
                        <a:pt x="134207" y="62960"/>
                      </a:lnTo>
                      <a:lnTo>
                        <a:pt x="138970" y="6001"/>
                      </a:lnTo>
                      <a:lnTo>
                        <a:pt x="67723" y="0"/>
                      </a:lnTo>
                      <a:lnTo>
                        <a:pt x="62960" y="57055"/>
                      </a:lnTo>
                      <a:lnTo>
                        <a:pt x="6001" y="52292"/>
                      </a:lnTo>
                      <a:lnTo>
                        <a:pt x="0" y="123539"/>
                      </a:lnTo>
                      <a:lnTo>
                        <a:pt x="57055" y="128302"/>
                      </a:lnTo>
                      <a:lnTo>
                        <a:pt x="52292" y="185261"/>
                      </a:lnTo>
                      <a:lnTo>
                        <a:pt x="123539" y="191262"/>
                      </a:lnTo>
                      <a:lnTo>
                        <a:pt x="128302" y="134207"/>
                      </a:lnTo>
                      <a:lnTo>
                        <a:pt x="185261" y="138970"/>
                      </a:lnTo>
                      <a:close/>
                    </a:path>
                  </a:pathLst>
                </a:custGeom>
                <a:solidFill>
                  <a:srgbClr val="4870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图形 278"/>
            <p:cNvGrpSpPr/>
            <p:nvPr userDrawn="1"/>
          </p:nvGrpSpPr>
          <p:grpSpPr>
            <a:xfrm rot="539182">
              <a:off x="9059197" y="948303"/>
              <a:ext cx="2927566" cy="4262031"/>
              <a:chOff x="7189961" y="3152438"/>
              <a:chExt cx="2291439" cy="3335940"/>
            </a:xfrm>
            <a:solidFill>
              <a:schemeClr val="accent1"/>
            </a:solidFill>
          </p:grpSpPr>
          <p:grpSp>
            <p:nvGrpSpPr>
              <p:cNvPr id="109" name="图形 278"/>
              <p:cNvGrpSpPr/>
              <p:nvPr/>
            </p:nvGrpSpPr>
            <p:grpSpPr>
              <a:xfrm>
                <a:off x="7189961" y="3391297"/>
                <a:ext cx="2291439" cy="3097081"/>
                <a:chOff x="7189961" y="3391297"/>
                <a:chExt cx="2291439" cy="3097081"/>
              </a:xfrm>
              <a:solidFill>
                <a:schemeClr val="accent1"/>
              </a:solidFill>
            </p:grpSpPr>
            <p:sp>
              <p:nvSpPr>
                <p:cNvPr id="117" name="isliḍê"/>
                <p:cNvSpPr/>
                <p:nvPr/>
              </p:nvSpPr>
              <p:spPr>
                <a:xfrm>
                  <a:off x="7386845" y="4138917"/>
                  <a:ext cx="941288" cy="1213008"/>
                </a:xfrm>
                <a:custGeom>
                  <a:avLst/>
                  <a:gdLst>
                    <a:gd name="connsiteX0" fmla="*/ 825342 w 941288"/>
                    <a:gd name="connsiteY0" fmla="*/ 0 h 1213008"/>
                    <a:gd name="connsiteX1" fmla="*/ 898970 w 941288"/>
                    <a:gd name="connsiteY1" fmla="*/ 566166 h 1213008"/>
                    <a:gd name="connsiteX2" fmla="*/ 672751 w 941288"/>
                    <a:gd name="connsiteY2" fmla="*/ 1171289 h 1213008"/>
                    <a:gd name="connsiteX3" fmla="*/ 21241 w 941288"/>
                    <a:gd name="connsiteY3" fmla="*/ 1213009 h 1213008"/>
                    <a:gd name="connsiteX4" fmla="*/ 0 w 941288"/>
                    <a:gd name="connsiteY4" fmla="*/ 1050036 h 1213008"/>
                    <a:gd name="connsiteX5" fmla="*/ 512159 w 941288"/>
                    <a:gd name="connsiteY5" fmla="*/ 928211 h 1213008"/>
                    <a:gd name="connsiteX6" fmla="*/ 825342 w 941288"/>
                    <a:gd name="connsiteY6" fmla="*/ 0 h 121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41288" h="1213008">
                      <a:moveTo>
                        <a:pt x="825342" y="0"/>
                      </a:moveTo>
                      <a:cubicBezTo>
                        <a:pt x="825342" y="0"/>
                        <a:pt x="868680" y="444055"/>
                        <a:pt x="898970" y="566166"/>
                      </a:cubicBezTo>
                      <a:cubicBezTo>
                        <a:pt x="1028033" y="1085945"/>
                        <a:pt x="835723" y="1150144"/>
                        <a:pt x="672751" y="1171289"/>
                      </a:cubicBezTo>
                      <a:cubicBezTo>
                        <a:pt x="509778" y="1192530"/>
                        <a:pt x="21241" y="1213009"/>
                        <a:pt x="21241" y="1213009"/>
                      </a:cubicBezTo>
                      <a:lnTo>
                        <a:pt x="0" y="1050036"/>
                      </a:lnTo>
                      <a:lnTo>
                        <a:pt x="512159" y="928211"/>
                      </a:lnTo>
                      <a:cubicBezTo>
                        <a:pt x="512255" y="928211"/>
                        <a:pt x="400336" y="201930"/>
                        <a:pt x="825342" y="0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îṥlíḋe"/>
                <p:cNvSpPr/>
                <p:nvPr/>
              </p:nvSpPr>
              <p:spPr>
                <a:xfrm>
                  <a:off x="8133795" y="6110783"/>
                  <a:ext cx="1049274" cy="210502"/>
                </a:xfrm>
                <a:custGeom>
                  <a:avLst/>
                  <a:gdLst>
                    <a:gd name="connsiteX0" fmla="*/ 0 w 1049274"/>
                    <a:gd name="connsiteY0" fmla="*/ 135064 h 210502"/>
                    <a:gd name="connsiteX1" fmla="*/ 9811 w 1049274"/>
                    <a:gd name="connsiteY1" fmla="*/ 210503 h 210502"/>
                    <a:gd name="connsiteX2" fmla="*/ 1049274 w 1049274"/>
                    <a:gd name="connsiteY2" fmla="*/ 75343 h 210502"/>
                    <a:gd name="connsiteX3" fmla="*/ 1038606 w 1049274"/>
                    <a:gd name="connsiteY3" fmla="*/ 0 h 210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9274" h="210502">
                      <a:moveTo>
                        <a:pt x="0" y="135064"/>
                      </a:moveTo>
                      <a:lnTo>
                        <a:pt x="9811" y="210503"/>
                      </a:lnTo>
                      <a:lnTo>
                        <a:pt x="1049274" y="75343"/>
                      </a:lnTo>
                      <a:lnTo>
                        <a:pt x="1038606" y="0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9" name="íṥ1ïḑe"/>
                <p:cNvSpPr/>
                <p:nvPr/>
              </p:nvSpPr>
              <p:spPr>
                <a:xfrm>
                  <a:off x="7975366" y="4082051"/>
                  <a:ext cx="1224752" cy="2199705"/>
                </a:xfrm>
                <a:custGeom>
                  <a:avLst/>
                  <a:gdLst>
                    <a:gd name="connsiteX0" fmla="*/ 1224753 w 1224752"/>
                    <a:gd name="connsiteY0" fmla="*/ 2063498 h 2199705"/>
                    <a:gd name="connsiteX1" fmla="*/ 948147 w 1224752"/>
                    <a:gd name="connsiteY1" fmla="*/ 425769 h 2199705"/>
                    <a:gd name="connsiteX2" fmla="*/ 407889 w 1224752"/>
                    <a:gd name="connsiteY2" fmla="*/ 3526 h 2199705"/>
                    <a:gd name="connsiteX3" fmla="*/ 397602 w 1224752"/>
                    <a:gd name="connsiteY3" fmla="*/ 4860 h 2199705"/>
                    <a:gd name="connsiteX4" fmla="*/ 8410 w 1224752"/>
                    <a:gd name="connsiteY4" fmla="*/ 623889 h 2199705"/>
                    <a:gd name="connsiteX5" fmla="*/ 144713 w 1224752"/>
                    <a:gd name="connsiteY5" fmla="*/ 2199706 h 2199705"/>
                    <a:gd name="connsiteX6" fmla="*/ 1224753 w 1224752"/>
                    <a:gd name="connsiteY6" fmla="*/ 2063498 h 2199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24752" h="2199705">
                      <a:moveTo>
                        <a:pt x="1224753" y="2063498"/>
                      </a:moveTo>
                      <a:lnTo>
                        <a:pt x="948147" y="425769"/>
                      </a:lnTo>
                      <a:cubicBezTo>
                        <a:pt x="913667" y="160974"/>
                        <a:pt x="672970" y="-28478"/>
                        <a:pt x="407889" y="3526"/>
                      </a:cubicBezTo>
                      <a:cubicBezTo>
                        <a:pt x="404460" y="3907"/>
                        <a:pt x="401031" y="4383"/>
                        <a:pt x="397602" y="4860"/>
                      </a:cubicBezTo>
                      <a:cubicBezTo>
                        <a:pt x="51749" y="49818"/>
                        <a:pt x="-29118" y="335377"/>
                        <a:pt x="8410" y="623889"/>
                      </a:cubicBezTo>
                      <a:cubicBezTo>
                        <a:pt x="45939" y="912402"/>
                        <a:pt x="144713" y="2199706"/>
                        <a:pt x="144713" y="2199706"/>
                      </a:cubicBezTo>
                      <a:lnTo>
                        <a:pt x="1224753" y="2063498"/>
                      </a:ln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i$liḍé"/>
                <p:cNvSpPr/>
                <p:nvPr/>
              </p:nvSpPr>
              <p:spPr>
                <a:xfrm>
                  <a:off x="8494602" y="4076106"/>
                  <a:ext cx="940498" cy="2062109"/>
                </a:xfrm>
                <a:custGeom>
                  <a:avLst/>
                  <a:gdLst>
                    <a:gd name="connsiteX0" fmla="*/ 0 w 940498"/>
                    <a:gd name="connsiteY0" fmla="*/ 899 h 2062109"/>
                    <a:gd name="connsiteX1" fmla="*/ 48387 w 940498"/>
                    <a:gd name="connsiteY1" fmla="*/ 159586 h 2062109"/>
                    <a:gd name="connsiteX2" fmla="*/ 420624 w 940498"/>
                    <a:gd name="connsiteY2" fmla="*/ 1014550 h 2062109"/>
                    <a:gd name="connsiteX3" fmla="*/ 762476 w 940498"/>
                    <a:gd name="connsiteY3" fmla="*/ 2062109 h 2062109"/>
                    <a:gd name="connsiteX4" fmla="*/ 940498 w 940498"/>
                    <a:gd name="connsiteY4" fmla="*/ 2038964 h 2062109"/>
                    <a:gd name="connsiteX5" fmla="*/ 0 w 940498"/>
                    <a:gd name="connsiteY5" fmla="*/ 899 h 206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40498" h="2062109">
                      <a:moveTo>
                        <a:pt x="0" y="899"/>
                      </a:moveTo>
                      <a:lnTo>
                        <a:pt x="48387" y="159586"/>
                      </a:lnTo>
                      <a:cubicBezTo>
                        <a:pt x="139351" y="457909"/>
                        <a:pt x="267176" y="743087"/>
                        <a:pt x="420624" y="1014550"/>
                      </a:cubicBezTo>
                      <a:cubicBezTo>
                        <a:pt x="696563" y="1502420"/>
                        <a:pt x="762476" y="2062109"/>
                        <a:pt x="762476" y="2062109"/>
                      </a:cubicBezTo>
                      <a:lnTo>
                        <a:pt x="940498" y="2038964"/>
                      </a:lnTo>
                      <a:cubicBezTo>
                        <a:pt x="661416" y="-106924"/>
                        <a:pt x="0" y="899"/>
                        <a:pt x="0" y="899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íŝlîḋê"/>
                <p:cNvSpPr/>
                <p:nvPr/>
              </p:nvSpPr>
              <p:spPr>
                <a:xfrm>
                  <a:off x="7806156" y="4086530"/>
                  <a:ext cx="602911" cy="880776"/>
                </a:xfrm>
                <a:custGeom>
                  <a:avLst/>
                  <a:gdLst>
                    <a:gd name="connsiteX0" fmla="*/ 3027 w 602911"/>
                    <a:gd name="connsiteY0" fmla="*/ 843725 h 880776"/>
                    <a:gd name="connsiteX1" fmla="*/ 602912 w 602911"/>
                    <a:gd name="connsiteY1" fmla="*/ 880777 h 880776"/>
                    <a:gd name="connsiteX2" fmla="*/ 577194 w 602911"/>
                    <a:gd name="connsiteY2" fmla="*/ 0 h 880776"/>
                    <a:gd name="connsiteX3" fmla="*/ 3027 w 602911"/>
                    <a:gd name="connsiteY3" fmla="*/ 843725 h 88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2911" h="880776">
                      <a:moveTo>
                        <a:pt x="3027" y="843725"/>
                      </a:moveTo>
                      <a:lnTo>
                        <a:pt x="602912" y="880777"/>
                      </a:lnTo>
                      <a:lnTo>
                        <a:pt x="577194" y="0"/>
                      </a:lnTo>
                      <a:cubicBezTo>
                        <a:pt x="577194" y="0"/>
                        <a:pt x="-48599" y="20479"/>
                        <a:pt x="3027" y="843725"/>
                      </a:cubicBez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íS1iḓé"/>
                <p:cNvSpPr/>
                <p:nvPr/>
              </p:nvSpPr>
              <p:spPr>
                <a:xfrm>
                  <a:off x="8383445" y="4077225"/>
                  <a:ext cx="770858" cy="867316"/>
                </a:xfrm>
                <a:custGeom>
                  <a:avLst/>
                  <a:gdLst>
                    <a:gd name="connsiteX0" fmla="*/ 770858 w 770858"/>
                    <a:gd name="connsiteY0" fmla="*/ 678055 h 867316"/>
                    <a:gd name="connsiteX1" fmla="*/ 200406 w 770858"/>
                    <a:gd name="connsiteY1" fmla="*/ 867316 h 867316"/>
                    <a:gd name="connsiteX2" fmla="*/ 0 w 770858"/>
                    <a:gd name="connsiteY2" fmla="*/ 9304 h 867316"/>
                    <a:gd name="connsiteX3" fmla="*/ 770858 w 770858"/>
                    <a:gd name="connsiteY3" fmla="*/ 678055 h 867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70858" h="867316">
                      <a:moveTo>
                        <a:pt x="770858" y="678055"/>
                      </a:moveTo>
                      <a:lnTo>
                        <a:pt x="200406" y="867316"/>
                      </a:lnTo>
                      <a:lnTo>
                        <a:pt x="0" y="9304"/>
                      </a:lnTo>
                      <a:cubicBezTo>
                        <a:pt x="-95" y="9304"/>
                        <a:pt x="610172" y="-130999"/>
                        <a:pt x="770858" y="678055"/>
                      </a:cubicBez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işḻiďè"/>
                <p:cNvSpPr/>
                <p:nvPr/>
              </p:nvSpPr>
              <p:spPr>
                <a:xfrm>
                  <a:off x="8424307" y="4805667"/>
                  <a:ext cx="273610" cy="263594"/>
                </a:xfrm>
                <a:custGeom>
                  <a:avLst/>
                  <a:gdLst>
                    <a:gd name="connsiteX0" fmla="*/ 0 w 273610"/>
                    <a:gd name="connsiteY0" fmla="*/ 34766 h 263594"/>
                    <a:gd name="connsiteX1" fmla="*/ 267558 w 273610"/>
                    <a:gd name="connsiteY1" fmla="*/ 0 h 263594"/>
                    <a:gd name="connsiteX2" fmla="*/ 168497 w 273610"/>
                    <a:gd name="connsiteY2" fmla="*/ 262604 h 263594"/>
                    <a:gd name="connsiteX3" fmla="*/ 0 w 273610"/>
                    <a:gd name="connsiteY3" fmla="*/ 34766 h 263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3610" h="263594">
                      <a:moveTo>
                        <a:pt x="0" y="34766"/>
                      </a:moveTo>
                      <a:lnTo>
                        <a:pt x="267558" y="0"/>
                      </a:lnTo>
                      <a:cubicBezTo>
                        <a:pt x="267558" y="0"/>
                        <a:pt x="310325" y="244126"/>
                        <a:pt x="168497" y="262604"/>
                      </a:cubicBezTo>
                      <a:cubicBezTo>
                        <a:pt x="26670" y="281083"/>
                        <a:pt x="0" y="34766"/>
                        <a:pt x="0" y="34766"/>
                      </a:cubicBez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24" name="图形 278"/>
                <p:cNvGrpSpPr/>
                <p:nvPr/>
              </p:nvGrpSpPr>
              <p:grpSpPr>
                <a:xfrm>
                  <a:off x="8112380" y="4064149"/>
                  <a:ext cx="445184" cy="876665"/>
                  <a:chOff x="8112380" y="4064149"/>
                  <a:chExt cx="445184" cy="876665"/>
                </a:xfrm>
                <a:solidFill>
                  <a:schemeClr val="accent1"/>
                </a:solidFill>
              </p:grpSpPr>
              <p:sp>
                <p:nvSpPr>
                  <p:cNvPr id="148" name="ïṥḻiďê"/>
                  <p:cNvSpPr/>
                  <p:nvPr/>
                </p:nvSpPr>
                <p:spPr>
                  <a:xfrm>
                    <a:off x="8112380" y="4064149"/>
                    <a:ext cx="445184" cy="693893"/>
                  </a:xfrm>
                  <a:custGeom>
                    <a:avLst/>
                    <a:gdLst>
                      <a:gd name="connsiteX0" fmla="*/ 195247 w 445184"/>
                      <a:gd name="connsiteY0" fmla="*/ 950 h 693893"/>
                      <a:gd name="connsiteX1" fmla="*/ 195247 w 445184"/>
                      <a:gd name="connsiteY1" fmla="*/ 950 h 693893"/>
                      <a:gd name="connsiteX2" fmla="*/ 2080 w 445184"/>
                      <a:gd name="connsiteY2" fmla="*/ 229264 h 693893"/>
                      <a:gd name="connsiteX3" fmla="*/ 287734 w 445184"/>
                      <a:gd name="connsiteY3" fmla="*/ 693894 h 693893"/>
                      <a:gd name="connsiteX4" fmla="*/ 442706 w 445184"/>
                      <a:gd name="connsiteY4" fmla="*/ 171924 h 693893"/>
                      <a:gd name="connsiteX5" fmla="*/ 195247 w 445184"/>
                      <a:gd name="connsiteY5" fmla="*/ 950 h 693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5184" h="693893">
                        <a:moveTo>
                          <a:pt x="195247" y="950"/>
                        </a:moveTo>
                        <a:lnTo>
                          <a:pt x="195247" y="950"/>
                        </a:lnTo>
                        <a:cubicBezTo>
                          <a:pt x="172292" y="4950"/>
                          <a:pt x="-22114" y="43717"/>
                          <a:pt x="2080" y="229264"/>
                        </a:cubicBezTo>
                        <a:cubicBezTo>
                          <a:pt x="26178" y="414621"/>
                          <a:pt x="260779" y="669891"/>
                          <a:pt x="287734" y="693894"/>
                        </a:cubicBezTo>
                        <a:cubicBezTo>
                          <a:pt x="307737" y="663795"/>
                          <a:pt x="466804" y="357375"/>
                          <a:pt x="442706" y="171924"/>
                        </a:cubicBezTo>
                        <a:cubicBezTo>
                          <a:pt x="418608" y="-13623"/>
                          <a:pt x="218392" y="-1146"/>
                          <a:pt x="195247" y="950"/>
                        </a:cubicBezTo>
                        <a:close/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" name="íṣļíḍé"/>
                  <p:cNvSpPr/>
                  <p:nvPr/>
                </p:nvSpPr>
                <p:spPr>
                  <a:xfrm rot="-444728">
                    <a:off x="8287102" y="4777466"/>
                    <a:ext cx="247353" cy="148011"/>
                  </a:xfrm>
                  <a:custGeom>
                    <a:avLst/>
                    <a:gdLst>
                      <a:gd name="connsiteX0" fmla="*/ 0 w 247353"/>
                      <a:gd name="connsiteY0" fmla="*/ 0 h 148011"/>
                      <a:gd name="connsiteX1" fmla="*/ 247353 w 247353"/>
                      <a:gd name="connsiteY1" fmla="*/ 0 h 148011"/>
                      <a:gd name="connsiteX2" fmla="*/ 247353 w 247353"/>
                      <a:gd name="connsiteY2" fmla="*/ 148012 h 148011"/>
                      <a:gd name="connsiteX3" fmla="*/ 0 w 247353"/>
                      <a:gd name="connsiteY3" fmla="*/ 148012 h 1480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7353" h="148011">
                        <a:moveTo>
                          <a:pt x="0" y="0"/>
                        </a:moveTo>
                        <a:lnTo>
                          <a:pt x="247353" y="0"/>
                        </a:lnTo>
                        <a:lnTo>
                          <a:pt x="247353" y="148012"/>
                        </a:lnTo>
                        <a:lnTo>
                          <a:pt x="0" y="1480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0" name="ísļíḓé"/>
                  <p:cNvSpPr/>
                  <p:nvPr/>
                </p:nvSpPr>
                <p:spPr>
                  <a:xfrm>
                    <a:off x="8400114" y="4758042"/>
                    <a:ext cx="5238" cy="40195"/>
                  </a:xfrm>
                  <a:custGeom>
                    <a:avLst/>
                    <a:gdLst>
                      <a:gd name="connsiteX0" fmla="*/ 0 w 5238"/>
                      <a:gd name="connsiteY0" fmla="*/ 0 h 40195"/>
                      <a:gd name="connsiteX1" fmla="*/ 5239 w 5238"/>
                      <a:gd name="connsiteY1" fmla="*/ 40195 h 40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238" h="40195">
                        <a:moveTo>
                          <a:pt x="0" y="0"/>
                        </a:moveTo>
                        <a:lnTo>
                          <a:pt x="5239" y="40195"/>
                        </a:lnTo>
                      </a:path>
                    </a:pathLst>
                  </a:custGeom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" name="îşlíďe"/>
                  <p:cNvSpPr/>
                  <p:nvPr/>
                </p:nvSpPr>
                <p:spPr>
                  <a:xfrm rot="-444728">
                    <a:off x="8314246" y="4825469"/>
                    <a:ext cx="56195" cy="56195"/>
                  </a:xfrm>
                  <a:custGeom>
                    <a:avLst/>
                    <a:gdLst>
                      <a:gd name="connsiteX0" fmla="*/ 0 w 56195"/>
                      <a:gd name="connsiteY0" fmla="*/ 0 h 56195"/>
                      <a:gd name="connsiteX1" fmla="*/ 56195 w 56195"/>
                      <a:gd name="connsiteY1" fmla="*/ 0 h 56195"/>
                      <a:gd name="connsiteX2" fmla="*/ 56195 w 56195"/>
                      <a:gd name="connsiteY2" fmla="*/ 56195 h 56195"/>
                      <a:gd name="connsiteX3" fmla="*/ 0 w 56195"/>
                      <a:gd name="connsiteY3" fmla="*/ 56195 h 56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6195" h="56195">
                        <a:moveTo>
                          <a:pt x="0" y="0"/>
                        </a:moveTo>
                        <a:lnTo>
                          <a:pt x="56195" y="0"/>
                        </a:lnTo>
                        <a:lnTo>
                          <a:pt x="56195" y="56195"/>
                        </a:lnTo>
                        <a:lnTo>
                          <a:pt x="0" y="56195"/>
                        </a:lnTo>
                        <a:close/>
                      </a:path>
                    </a:pathLst>
                  </a:custGeom>
                  <a:solidFill>
                    <a:srgbClr val="FCDFD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" name="iṡḷîďé"/>
                  <p:cNvSpPr/>
                  <p:nvPr/>
                </p:nvSpPr>
                <p:spPr>
                  <a:xfrm rot="-444728">
                    <a:off x="8395003" y="4810799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" name="íSlîḋê"/>
                  <p:cNvSpPr/>
                  <p:nvPr/>
                </p:nvSpPr>
                <p:spPr>
                  <a:xfrm rot="-444728">
                    <a:off x="8397961" y="4834144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" name="ïṡḷiḍé"/>
                  <p:cNvSpPr/>
                  <p:nvPr/>
                </p:nvSpPr>
                <p:spPr>
                  <a:xfrm rot="-444728">
                    <a:off x="8401014" y="4857477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" name="isļíḑé"/>
                  <p:cNvSpPr/>
                  <p:nvPr/>
                </p:nvSpPr>
                <p:spPr>
                  <a:xfrm rot="-444728">
                    <a:off x="8404054" y="4880714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" name="ïṣliḍê"/>
                  <p:cNvSpPr/>
                  <p:nvPr/>
                </p:nvSpPr>
                <p:spPr>
                  <a:xfrm rot="-444728">
                    <a:off x="8320244" y="4895577"/>
                    <a:ext cx="56195" cy="9143"/>
                  </a:xfrm>
                  <a:custGeom>
                    <a:avLst/>
                    <a:gdLst>
                      <a:gd name="connsiteX0" fmla="*/ 0 w 56195"/>
                      <a:gd name="connsiteY0" fmla="*/ 0 h 9143"/>
                      <a:gd name="connsiteX1" fmla="*/ 56195 w 56195"/>
                      <a:gd name="connsiteY1" fmla="*/ 0 h 9143"/>
                      <a:gd name="connsiteX2" fmla="*/ 56195 w 56195"/>
                      <a:gd name="connsiteY2" fmla="*/ 9144 h 9143"/>
                      <a:gd name="connsiteX3" fmla="*/ 0 w 56195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6195" h="9143">
                        <a:moveTo>
                          <a:pt x="0" y="0"/>
                        </a:moveTo>
                        <a:lnTo>
                          <a:pt x="56195" y="0"/>
                        </a:lnTo>
                        <a:lnTo>
                          <a:pt x="56195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CDFD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25" name="íṡļîďé"/>
                <p:cNvSpPr/>
                <p:nvPr/>
              </p:nvSpPr>
              <p:spPr>
                <a:xfrm>
                  <a:off x="7189961" y="4586669"/>
                  <a:ext cx="945073" cy="955584"/>
                </a:xfrm>
                <a:custGeom>
                  <a:avLst/>
                  <a:gdLst>
                    <a:gd name="connsiteX0" fmla="*/ 348140 w 945073"/>
                    <a:gd name="connsiteY0" fmla="*/ 954995 h 955584"/>
                    <a:gd name="connsiteX1" fmla="*/ 882588 w 945073"/>
                    <a:gd name="connsiteY1" fmla="*/ 885462 h 955584"/>
                    <a:gd name="connsiteX2" fmla="*/ 940786 w 945073"/>
                    <a:gd name="connsiteY2" fmla="*/ 790117 h 955584"/>
                    <a:gd name="connsiteX3" fmla="*/ 673609 w 945073"/>
                    <a:gd name="connsiteY3" fmla="*/ 47453 h 955584"/>
                    <a:gd name="connsiteX4" fmla="*/ 596933 w 945073"/>
                    <a:gd name="connsiteY4" fmla="*/ 590 h 955584"/>
                    <a:gd name="connsiteX5" fmla="*/ 62486 w 945073"/>
                    <a:gd name="connsiteY5" fmla="*/ 70122 h 955584"/>
                    <a:gd name="connsiteX6" fmla="*/ 4288 w 945073"/>
                    <a:gd name="connsiteY6" fmla="*/ 165467 h 955584"/>
                    <a:gd name="connsiteX7" fmla="*/ 271464 w 945073"/>
                    <a:gd name="connsiteY7" fmla="*/ 908132 h 955584"/>
                    <a:gd name="connsiteX8" fmla="*/ 348140 w 945073"/>
                    <a:gd name="connsiteY8" fmla="*/ 954995 h 95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45073" h="955584">
                      <a:moveTo>
                        <a:pt x="348140" y="954995"/>
                      </a:moveTo>
                      <a:lnTo>
                        <a:pt x="882588" y="885462"/>
                      </a:lnTo>
                      <a:cubicBezTo>
                        <a:pt x="928022" y="879557"/>
                        <a:pt x="956311" y="833170"/>
                        <a:pt x="940786" y="790117"/>
                      </a:cubicBezTo>
                      <a:lnTo>
                        <a:pt x="673609" y="47453"/>
                      </a:lnTo>
                      <a:cubicBezTo>
                        <a:pt x="662179" y="15734"/>
                        <a:pt x="630271" y="-3697"/>
                        <a:pt x="596933" y="590"/>
                      </a:cubicBezTo>
                      <a:lnTo>
                        <a:pt x="62486" y="70122"/>
                      </a:lnTo>
                      <a:cubicBezTo>
                        <a:pt x="17051" y="76028"/>
                        <a:pt x="-11238" y="122414"/>
                        <a:pt x="4288" y="165467"/>
                      </a:cubicBezTo>
                      <a:lnTo>
                        <a:pt x="271464" y="908132"/>
                      </a:lnTo>
                      <a:cubicBezTo>
                        <a:pt x="282799" y="939850"/>
                        <a:pt x="314707" y="959281"/>
                        <a:pt x="348140" y="954995"/>
                      </a:cubicBezTo>
                      <a:close/>
                    </a:path>
                  </a:pathLst>
                </a:custGeom>
                <a:solidFill>
                  <a:srgbClr val="5B7FC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26" name="图形 278"/>
                <p:cNvGrpSpPr/>
                <p:nvPr/>
              </p:nvGrpSpPr>
              <p:grpSpPr>
                <a:xfrm>
                  <a:off x="7989771" y="3391297"/>
                  <a:ext cx="568717" cy="959060"/>
                  <a:chOff x="7989771" y="3391297"/>
                  <a:chExt cx="568717" cy="959060"/>
                </a:xfrm>
                <a:solidFill>
                  <a:schemeClr val="accent1"/>
                </a:solidFill>
              </p:grpSpPr>
              <p:sp>
                <p:nvSpPr>
                  <p:cNvPr id="134" name="iṧḷïďè"/>
                  <p:cNvSpPr/>
                  <p:nvPr/>
                </p:nvSpPr>
                <p:spPr>
                  <a:xfrm>
                    <a:off x="8130747" y="3941845"/>
                    <a:ext cx="319453" cy="408512"/>
                  </a:xfrm>
                  <a:custGeom>
                    <a:avLst/>
                    <a:gdLst>
                      <a:gd name="connsiteX0" fmla="*/ 193739 w 319453"/>
                      <a:gd name="connsiteY0" fmla="*/ 407289 h 408512"/>
                      <a:gd name="connsiteX1" fmla="*/ 193739 w 319453"/>
                      <a:gd name="connsiteY1" fmla="*/ 407289 h 408512"/>
                      <a:gd name="connsiteX2" fmla="*/ 318231 w 319453"/>
                      <a:gd name="connsiteY2" fmla="*/ 245554 h 408512"/>
                      <a:gd name="connsiteX3" fmla="*/ 286321 w 319453"/>
                      <a:gd name="connsiteY3" fmla="*/ 0 h 408512"/>
                      <a:gd name="connsiteX4" fmla="*/ 0 w 319453"/>
                      <a:gd name="connsiteY4" fmla="*/ 37243 h 408512"/>
                      <a:gd name="connsiteX5" fmla="*/ 31909 w 319453"/>
                      <a:gd name="connsiteY5" fmla="*/ 282797 h 408512"/>
                      <a:gd name="connsiteX6" fmla="*/ 193739 w 319453"/>
                      <a:gd name="connsiteY6" fmla="*/ 407289 h 4085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19453" h="408512">
                        <a:moveTo>
                          <a:pt x="193739" y="407289"/>
                        </a:moveTo>
                        <a:lnTo>
                          <a:pt x="193739" y="407289"/>
                        </a:lnTo>
                        <a:cubicBezTo>
                          <a:pt x="272796" y="397002"/>
                          <a:pt x="328518" y="324612"/>
                          <a:pt x="318231" y="245554"/>
                        </a:cubicBezTo>
                        <a:lnTo>
                          <a:pt x="286321" y="0"/>
                        </a:lnTo>
                        <a:lnTo>
                          <a:pt x="0" y="37243"/>
                        </a:lnTo>
                        <a:lnTo>
                          <a:pt x="31909" y="282797"/>
                        </a:lnTo>
                        <a:cubicBezTo>
                          <a:pt x="42196" y="361855"/>
                          <a:pt x="114681" y="417576"/>
                          <a:pt x="193739" y="407289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5" name="íŝḻîḑè"/>
                  <p:cNvSpPr/>
                  <p:nvPr/>
                </p:nvSpPr>
                <p:spPr>
                  <a:xfrm>
                    <a:off x="7989771" y="3391297"/>
                    <a:ext cx="503467" cy="666664"/>
                  </a:xfrm>
                  <a:custGeom>
                    <a:avLst/>
                    <a:gdLst>
                      <a:gd name="connsiteX0" fmla="*/ 14389 w 503467"/>
                      <a:gd name="connsiteY0" fmla="*/ 408530 h 666664"/>
                      <a:gd name="connsiteX1" fmla="*/ 271183 w 503467"/>
                      <a:gd name="connsiteY1" fmla="*/ 664562 h 666664"/>
                      <a:gd name="connsiteX2" fmla="*/ 500450 w 503467"/>
                      <a:gd name="connsiteY2" fmla="*/ 345284 h 666664"/>
                      <a:gd name="connsiteX3" fmla="*/ 208890 w 503467"/>
                      <a:gd name="connsiteY3" fmla="*/ 3432 h 666664"/>
                      <a:gd name="connsiteX4" fmla="*/ 14389 w 503467"/>
                      <a:gd name="connsiteY4" fmla="*/ 408530 h 6666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3467" h="666664">
                        <a:moveTo>
                          <a:pt x="14389" y="408530"/>
                        </a:moveTo>
                        <a:cubicBezTo>
                          <a:pt x="38106" y="590553"/>
                          <a:pt x="136976" y="681993"/>
                          <a:pt x="271183" y="664562"/>
                        </a:cubicBezTo>
                        <a:cubicBezTo>
                          <a:pt x="405390" y="647131"/>
                          <a:pt x="524072" y="527307"/>
                          <a:pt x="500450" y="345284"/>
                        </a:cubicBezTo>
                        <a:cubicBezTo>
                          <a:pt x="476732" y="163261"/>
                          <a:pt x="451872" y="-28096"/>
                          <a:pt x="208890" y="3432"/>
                        </a:cubicBezTo>
                        <a:cubicBezTo>
                          <a:pt x="-34188" y="35055"/>
                          <a:pt x="-9328" y="226507"/>
                          <a:pt x="14389" y="408530"/>
                        </a:cubicBezTo>
                        <a:close/>
                      </a:path>
                    </a:pathLst>
                  </a:custGeom>
                  <a:solidFill>
                    <a:srgbClr val="F8C6C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6" name="ïṡļíḍê"/>
                  <p:cNvSpPr/>
                  <p:nvPr/>
                </p:nvSpPr>
                <p:spPr>
                  <a:xfrm>
                    <a:off x="8454978" y="3652669"/>
                    <a:ext cx="103509" cy="175257"/>
                  </a:xfrm>
                  <a:custGeom>
                    <a:avLst/>
                    <a:gdLst>
                      <a:gd name="connsiteX0" fmla="*/ 102394 w 103509"/>
                      <a:gd name="connsiteY0" fmla="*/ 60100 h 175257"/>
                      <a:gd name="connsiteX1" fmla="*/ 21431 w 103509"/>
                      <a:gd name="connsiteY1" fmla="*/ 175257 h 175257"/>
                      <a:gd name="connsiteX2" fmla="*/ 0 w 103509"/>
                      <a:gd name="connsiteY2" fmla="*/ 10665 h 175257"/>
                      <a:gd name="connsiteX3" fmla="*/ 102394 w 103509"/>
                      <a:gd name="connsiteY3" fmla="*/ 60100 h 175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3509" h="175257">
                        <a:moveTo>
                          <a:pt x="102394" y="60100"/>
                        </a:moveTo>
                        <a:cubicBezTo>
                          <a:pt x="114681" y="154398"/>
                          <a:pt x="21431" y="175257"/>
                          <a:pt x="21431" y="175257"/>
                        </a:cubicBezTo>
                        <a:lnTo>
                          <a:pt x="0" y="10665"/>
                        </a:lnTo>
                        <a:cubicBezTo>
                          <a:pt x="95" y="10665"/>
                          <a:pt x="90201" y="-34197"/>
                          <a:pt x="102394" y="60100"/>
                        </a:cubicBezTo>
                        <a:close/>
                      </a:path>
                    </a:pathLst>
                  </a:custGeom>
                  <a:solidFill>
                    <a:srgbClr val="F8C6C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îšḷiḓe"/>
                  <p:cNvSpPr/>
                  <p:nvPr/>
                </p:nvSpPr>
                <p:spPr>
                  <a:xfrm>
                    <a:off x="8477076" y="3692416"/>
                    <a:ext cx="50379" cy="93981"/>
                  </a:xfrm>
                  <a:custGeom>
                    <a:avLst/>
                    <a:gdLst>
                      <a:gd name="connsiteX0" fmla="*/ 49720 w 50379"/>
                      <a:gd name="connsiteY0" fmla="*/ 32735 h 93981"/>
                      <a:gd name="connsiteX1" fmla="*/ 11525 w 50379"/>
                      <a:gd name="connsiteY1" fmla="*/ 93981 h 93981"/>
                      <a:gd name="connsiteX2" fmla="*/ 0 w 50379"/>
                      <a:gd name="connsiteY2" fmla="*/ 5399 h 93981"/>
                      <a:gd name="connsiteX3" fmla="*/ 49720 w 50379"/>
                      <a:gd name="connsiteY3" fmla="*/ 32735 h 939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0379" h="93981">
                        <a:moveTo>
                          <a:pt x="49720" y="32735"/>
                        </a:moveTo>
                        <a:cubicBezTo>
                          <a:pt x="56293" y="83504"/>
                          <a:pt x="11525" y="93981"/>
                          <a:pt x="11525" y="93981"/>
                        </a:cubicBezTo>
                        <a:lnTo>
                          <a:pt x="0" y="5399"/>
                        </a:lnTo>
                        <a:cubicBezTo>
                          <a:pt x="-95" y="5399"/>
                          <a:pt x="43053" y="-18033"/>
                          <a:pt x="49720" y="32735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íśļíḍê"/>
                  <p:cNvSpPr/>
                  <p:nvPr/>
                </p:nvSpPr>
                <p:spPr>
                  <a:xfrm>
                    <a:off x="8297271" y="3672030"/>
                    <a:ext cx="66335" cy="49882"/>
                  </a:xfrm>
                  <a:custGeom>
                    <a:avLst/>
                    <a:gdLst>
                      <a:gd name="connsiteX0" fmla="*/ 66172 w 66335"/>
                      <a:gd name="connsiteY0" fmla="*/ 20641 h 49882"/>
                      <a:gd name="connsiteX1" fmla="*/ 36359 w 66335"/>
                      <a:gd name="connsiteY1" fmla="*/ 49502 h 49882"/>
                      <a:gd name="connsiteX2" fmla="*/ 163 w 66335"/>
                      <a:gd name="connsiteY2" fmla="*/ 29214 h 49882"/>
                      <a:gd name="connsiteX3" fmla="*/ 29977 w 66335"/>
                      <a:gd name="connsiteY3" fmla="*/ 353 h 49882"/>
                      <a:gd name="connsiteX4" fmla="*/ 66172 w 66335"/>
                      <a:gd name="connsiteY4" fmla="*/ 20641 h 498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35" h="49882">
                        <a:moveTo>
                          <a:pt x="66172" y="20641"/>
                        </a:moveTo>
                        <a:cubicBezTo>
                          <a:pt x="67981" y="34167"/>
                          <a:pt x="54551" y="47121"/>
                          <a:pt x="36359" y="49502"/>
                        </a:cubicBezTo>
                        <a:cubicBezTo>
                          <a:pt x="18166" y="51883"/>
                          <a:pt x="1878" y="42835"/>
                          <a:pt x="163" y="29214"/>
                        </a:cubicBezTo>
                        <a:cubicBezTo>
                          <a:pt x="-1646" y="15688"/>
                          <a:pt x="11784" y="2734"/>
                          <a:pt x="29977" y="353"/>
                        </a:cubicBezTo>
                        <a:cubicBezTo>
                          <a:pt x="48170" y="-1933"/>
                          <a:pt x="64362" y="7116"/>
                          <a:pt x="66172" y="2064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íSľidé"/>
                  <p:cNvSpPr/>
                  <p:nvPr/>
                </p:nvSpPr>
                <p:spPr>
                  <a:xfrm>
                    <a:off x="8064861" y="3702292"/>
                    <a:ext cx="66335" cy="49909"/>
                  </a:xfrm>
                  <a:custGeom>
                    <a:avLst/>
                    <a:gdLst>
                      <a:gd name="connsiteX0" fmla="*/ 66172 w 66335"/>
                      <a:gd name="connsiteY0" fmla="*/ 20668 h 49909"/>
                      <a:gd name="connsiteX1" fmla="*/ 36358 w 66335"/>
                      <a:gd name="connsiteY1" fmla="*/ 49529 h 49909"/>
                      <a:gd name="connsiteX2" fmla="*/ 163 w 66335"/>
                      <a:gd name="connsiteY2" fmla="*/ 29241 h 49909"/>
                      <a:gd name="connsiteX3" fmla="*/ 29977 w 66335"/>
                      <a:gd name="connsiteY3" fmla="*/ 380 h 49909"/>
                      <a:gd name="connsiteX4" fmla="*/ 66172 w 66335"/>
                      <a:gd name="connsiteY4" fmla="*/ 20668 h 49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35" h="49909">
                        <a:moveTo>
                          <a:pt x="66172" y="20668"/>
                        </a:moveTo>
                        <a:cubicBezTo>
                          <a:pt x="67981" y="34194"/>
                          <a:pt x="54551" y="47148"/>
                          <a:pt x="36358" y="49529"/>
                        </a:cubicBezTo>
                        <a:cubicBezTo>
                          <a:pt x="18166" y="51910"/>
                          <a:pt x="1878" y="42862"/>
                          <a:pt x="163" y="29241"/>
                        </a:cubicBezTo>
                        <a:cubicBezTo>
                          <a:pt x="-1646" y="15715"/>
                          <a:pt x="11784" y="2761"/>
                          <a:pt x="29977" y="380"/>
                        </a:cubicBezTo>
                        <a:cubicBezTo>
                          <a:pt x="48169" y="-2001"/>
                          <a:pt x="64362" y="7048"/>
                          <a:pt x="66172" y="2066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ïs1íďê"/>
                  <p:cNvSpPr/>
                  <p:nvPr/>
                </p:nvSpPr>
                <p:spPr>
                  <a:xfrm>
                    <a:off x="8304120" y="3675068"/>
                    <a:ext cx="39587" cy="39587"/>
                  </a:xfrm>
                  <a:custGeom>
                    <a:avLst/>
                    <a:gdLst>
                      <a:gd name="connsiteX0" fmla="*/ 39415 w 39587"/>
                      <a:gd name="connsiteY0" fmla="*/ 17222 h 39587"/>
                      <a:gd name="connsiteX1" fmla="*/ 22366 w 39587"/>
                      <a:gd name="connsiteY1" fmla="*/ 39415 h 39587"/>
                      <a:gd name="connsiteX2" fmla="*/ 172 w 39587"/>
                      <a:gd name="connsiteY2" fmla="*/ 22365 h 39587"/>
                      <a:gd name="connsiteX3" fmla="*/ 17222 w 39587"/>
                      <a:gd name="connsiteY3" fmla="*/ 172 h 39587"/>
                      <a:gd name="connsiteX4" fmla="*/ 39415 w 39587"/>
                      <a:gd name="connsiteY4" fmla="*/ 17222 h 39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587" h="39587">
                        <a:moveTo>
                          <a:pt x="39415" y="17222"/>
                        </a:moveTo>
                        <a:cubicBezTo>
                          <a:pt x="40844" y="28080"/>
                          <a:pt x="33224" y="37986"/>
                          <a:pt x="22366" y="39415"/>
                        </a:cubicBezTo>
                        <a:cubicBezTo>
                          <a:pt x="11507" y="40844"/>
                          <a:pt x="1601" y="33224"/>
                          <a:pt x="172" y="22365"/>
                        </a:cubicBezTo>
                        <a:cubicBezTo>
                          <a:pt x="-1257" y="11507"/>
                          <a:pt x="6363" y="1601"/>
                          <a:pt x="17222" y="172"/>
                        </a:cubicBezTo>
                        <a:cubicBezTo>
                          <a:pt x="28080" y="-1257"/>
                          <a:pt x="37986" y="6363"/>
                          <a:pt x="39415" y="17222"/>
                        </a:cubicBezTo>
                        <a:close/>
                      </a:path>
                    </a:pathLst>
                  </a:custGeom>
                  <a:solidFill>
                    <a:srgbClr val="26273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" name="ï$ḻïde"/>
                  <p:cNvSpPr/>
                  <p:nvPr/>
                </p:nvSpPr>
                <p:spPr>
                  <a:xfrm>
                    <a:off x="8071710" y="3705262"/>
                    <a:ext cx="39587" cy="39587"/>
                  </a:xfrm>
                  <a:custGeom>
                    <a:avLst/>
                    <a:gdLst>
                      <a:gd name="connsiteX0" fmla="*/ 39415 w 39587"/>
                      <a:gd name="connsiteY0" fmla="*/ 17222 h 39587"/>
                      <a:gd name="connsiteX1" fmla="*/ 22366 w 39587"/>
                      <a:gd name="connsiteY1" fmla="*/ 39415 h 39587"/>
                      <a:gd name="connsiteX2" fmla="*/ 172 w 39587"/>
                      <a:gd name="connsiteY2" fmla="*/ 22365 h 39587"/>
                      <a:gd name="connsiteX3" fmla="*/ 17222 w 39587"/>
                      <a:gd name="connsiteY3" fmla="*/ 172 h 39587"/>
                      <a:gd name="connsiteX4" fmla="*/ 39415 w 39587"/>
                      <a:gd name="connsiteY4" fmla="*/ 17222 h 39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587" h="39587">
                        <a:moveTo>
                          <a:pt x="39415" y="17222"/>
                        </a:moveTo>
                        <a:cubicBezTo>
                          <a:pt x="40844" y="28080"/>
                          <a:pt x="33224" y="37986"/>
                          <a:pt x="22366" y="39415"/>
                        </a:cubicBezTo>
                        <a:cubicBezTo>
                          <a:pt x="11507" y="40844"/>
                          <a:pt x="1601" y="33224"/>
                          <a:pt x="172" y="22365"/>
                        </a:cubicBezTo>
                        <a:cubicBezTo>
                          <a:pt x="-1256" y="11507"/>
                          <a:pt x="6364" y="1601"/>
                          <a:pt x="17222" y="172"/>
                        </a:cubicBezTo>
                        <a:cubicBezTo>
                          <a:pt x="28080" y="-1257"/>
                          <a:pt x="37987" y="6363"/>
                          <a:pt x="39415" y="17222"/>
                        </a:cubicBezTo>
                        <a:close/>
                      </a:path>
                    </a:pathLst>
                  </a:custGeom>
                  <a:solidFill>
                    <a:srgbClr val="26273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íṧ1ïḋê"/>
                  <p:cNvSpPr/>
                  <p:nvPr/>
                </p:nvSpPr>
                <p:spPr>
                  <a:xfrm>
                    <a:off x="8184182" y="3894029"/>
                    <a:ext cx="113157" cy="32779"/>
                  </a:xfrm>
                  <a:custGeom>
                    <a:avLst/>
                    <a:gdLst>
                      <a:gd name="connsiteX0" fmla="*/ 113157 w 113157"/>
                      <a:gd name="connsiteY0" fmla="*/ 0 h 32779"/>
                      <a:gd name="connsiteX1" fmla="*/ 0 w 113157"/>
                      <a:gd name="connsiteY1" fmla="*/ 14669 h 32779"/>
                      <a:gd name="connsiteX2" fmla="*/ 113157 w 113157"/>
                      <a:gd name="connsiteY2" fmla="*/ 0 h 3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3157" h="32779">
                        <a:moveTo>
                          <a:pt x="113157" y="0"/>
                        </a:moveTo>
                        <a:cubicBezTo>
                          <a:pt x="63912" y="63913"/>
                          <a:pt x="0" y="14669"/>
                          <a:pt x="0" y="14669"/>
                        </a:cubicBezTo>
                        <a:lnTo>
                          <a:pt x="11315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" name="ï$1îḑé"/>
                  <p:cNvSpPr/>
                  <p:nvPr/>
                </p:nvSpPr>
                <p:spPr>
                  <a:xfrm>
                    <a:off x="8183851" y="3728485"/>
                    <a:ext cx="51480" cy="131696"/>
                  </a:xfrm>
                  <a:custGeom>
                    <a:avLst/>
                    <a:gdLst>
                      <a:gd name="connsiteX0" fmla="*/ 34431 w 51480"/>
                      <a:gd name="connsiteY0" fmla="*/ 0 h 131696"/>
                      <a:gd name="connsiteX1" fmla="*/ 51481 w 51480"/>
                      <a:gd name="connsiteY1" fmla="*/ 130778 h 131696"/>
                      <a:gd name="connsiteX2" fmla="*/ 34431 w 51480"/>
                      <a:gd name="connsiteY2" fmla="*/ 0 h 1316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1480" h="131696">
                        <a:moveTo>
                          <a:pt x="34431" y="0"/>
                        </a:moveTo>
                        <a:lnTo>
                          <a:pt x="51481" y="130778"/>
                        </a:lnTo>
                        <a:cubicBezTo>
                          <a:pt x="-53390" y="144494"/>
                          <a:pt x="34431" y="0"/>
                          <a:pt x="34431" y="0"/>
                        </a:cubicBezTo>
                        <a:close/>
                      </a:path>
                    </a:pathLst>
                  </a:custGeom>
                  <a:solidFill>
                    <a:srgbClr val="F3979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" name="îSliḍé"/>
                  <p:cNvSpPr/>
                  <p:nvPr/>
                </p:nvSpPr>
                <p:spPr>
                  <a:xfrm>
                    <a:off x="8289243" y="3646237"/>
                    <a:ext cx="72295" cy="17287"/>
                  </a:xfrm>
                  <a:custGeom>
                    <a:avLst/>
                    <a:gdLst>
                      <a:gd name="connsiteX0" fmla="*/ 0 w 72295"/>
                      <a:gd name="connsiteY0" fmla="*/ 17288 h 17287"/>
                      <a:gd name="connsiteX1" fmla="*/ 72295 w 72295"/>
                      <a:gd name="connsiteY1" fmla="*/ 7858 h 1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2295" h="17287">
                        <a:moveTo>
                          <a:pt x="0" y="17288"/>
                        </a:moveTo>
                        <a:cubicBezTo>
                          <a:pt x="0" y="17288"/>
                          <a:pt x="32671" y="-14240"/>
                          <a:pt x="72295" y="7858"/>
                        </a:cubicBezTo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" name="ïṧliḑè"/>
                  <p:cNvSpPr/>
                  <p:nvPr/>
                </p:nvSpPr>
                <p:spPr>
                  <a:xfrm>
                    <a:off x="8056833" y="3676431"/>
                    <a:ext cx="72294" cy="17287"/>
                  </a:xfrm>
                  <a:custGeom>
                    <a:avLst/>
                    <a:gdLst>
                      <a:gd name="connsiteX0" fmla="*/ 0 w 72294"/>
                      <a:gd name="connsiteY0" fmla="*/ 17288 h 17287"/>
                      <a:gd name="connsiteX1" fmla="*/ 72294 w 72294"/>
                      <a:gd name="connsiteY1" fmla="*/ 7858 h 1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2294" h="17287">
                        <a:moveTo>
                          <a:pt x="0" y="17288"/>
                        </a:moveTo>
                        <a:cubicBezTo>
                          <a:pt x="0" y="17288"/>
                          <a:pt x="32671" y="-14240"/>
                          <a:pt x="72294" y="7858"/>
                        </a:cubicBezTo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" name="î$1ïḋé"/>
                  <p:cNvSpPr/>
                  <p:nvPr/>
                </p:nvSpPr>
                <p:spPr>
                  <a:xfrm>
                    <a:off x="8320961" y="3740010"/>
                    <a:ext cx="140779" cy="140779"/>
                  </a:xfrm>
                  <a:custGeom>
                    <a:avLst/>
                    <a:gdLst>
                      <a:gd name="connsiteX0" fmla="*/ 140779 w 140779"/>
                      <a:gd name="connsiteY0" fmla="*/ 70390 h 140779"/>
                      <a:gd name="connsiteX1" fmla="*/ 70389 w 140779"/>
                      <a:gd name="connsiteY1" fmla="*/ 140780 h 140779"/>
                      <a:gd name="connsiteX2" fmla="*/ -1 w 140779"/>
                      <a:gd name="connsiteY2" fmla="*/ 70390 h 140779"/>
                      <a:gd name="connsiteX3" fmla="*/ 70389 w 140779"/>
                      <a:gd name="connsiteY3" fmla="*/ 0 h 140779"/>
                      <a:gd name="connsiteX4" fmla="*/ 140779 w 140779"/>
                      <a:gd name="connsiteY4" fmla="*/ 70390 h 140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0779" h="140779">
                        <a:moveTo>
                          <a:pt x="140779" y="70390"/>
                        </a:moveTo>
                        <a:cubicBezTo>
                          <a:pt x="140779" y="109265"/>
                          <a:pt x="109265" y="140780"/>
                          <a:pt x="70389" y="140780"/>
                        </a:cubicBezTo>
                        <a:cubicBezTo>
                          <a:pt x="31514" y="140780"/>
                          <a:pt x="-1" y="109265"/>
                          <a:pt x="-1" y="70390"/>
                        </a:cubicBezTo>
                        <a:cubicBezTo>
                          <a:pt x="-1" y="31515"/>
                          <a:pt x="31514" y="0"/>
                          <a:pt x="70389" y="0"/>
                        </a:cubicBezTo>
                        <a:cubicBezTo>
                          <a:pt x="109264" y="0"/>
                          <a:pt x="140779" y="31515"/>
                          <a:pt x="140779" y="70390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" name="iṩ1îdé"/>
                  <p:cNvSpPr/>
                  <p:nvPr/>
                </p:nvSpPr>
                <p:spPr>
                  <a:xfrm>
                    <a:off x="8006065" y="3782556"/>
                    <a:ext cx="127665" cy="140800"/>
                  </a:xfrm>
                  <a:custGeom>
                    <a:avLst/>
                    <a:gdLst>
                      <a:gd name="connsiteX0" fmla="*/ 48196 w 127665"/>
                      <a:gd name="connsiteY0" fmla="*/ 602 h 140800"/>
                      <a:gd name="connsiteX1" fmla="*/ 127063 w 127665"/>
                      <a:gd name="connsiteY1" fmla="*/ 61372 h 140800"/>
                      <a:gd name="connsiteX2" fmla="*/ 66294 w 127665"/>
                      <a:gd name="connsiteY2" fmla="*/ 140239 h 140800"/>
                      <a:gd name="connsiteX3" fmla="*/ 28480 w 127665"/>
                      <a:gd name="connsiteY3" fmla="*/ 134429 h 140800"/>
                      <a:gd name="connsiteX4" fmla="*/ 0 w 127665"/>
                      <a:gd name="connsiteY4" fmla="*/ 29654 h 140800"/>
                      <a:gd name="connsiteX5" fmla="*/ 48196 w 127665"/>
                      <a:gd name="connsiteY5" fmla="*/ 602 h 140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27665" h="140800">
                        <a:moveTo>
                          <a:pt x="48196" y="602"/>
                        </a:moveTo>
                        <a:cubicBezTo>
                          <a:pt x="86773" y="-4446"/>
                          <a:pt x="122111" y="22796"/>
                          <a:pt x="127063" y="61372"/>
                        </a:cubicBezTo>
                        <a:cubicBezTo>
                          <a:pt x="132112" y="99948"/>
                          <a:pt x="104870" y="135286"/>
                          <a:pt x="66294" y="140239"/>
                        </a:cubicBezTo>
                        <a:cubicBezTo>
                          <a:pt x="52864" y="141953"/>
                          <a:pt x="40005" y="139667"/>
                          <a:pt x="28480" y="134429"/>
                        </a:cubicBezTo>
                        <a:cubicBezTo>
                          <a:pt x="15621" y="104139"/>
                          <a:pt x="6001" y="69087"/>
                          <a:pt x="0" y="29654"/>
                        </a:cubicBezTo>
                        <a:cubicBezTo>
                          <a:pt x="11049" y="14318"/>
                          <a:pt x="27908" y="3269"/>
                          <a:pt x="48196" y="602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27" name="ïṣḻíḍê"/>
                <p:cNvSpPr/>
                <p:nvPr/>
              </p:nvSpPr>
              <p:spPr>
                <a:xfrm>
                  <a:off x="9245401" y="6085446"/>
                  <a:ext cx="235999" cy="402931"/>
                </a:xfrm>
                <a:custGeom>
                  <a:avLst/>
                  <a:gdLst>
                    <a:gd name="connsiteX0" fmla="*/ 13582 w 235999"/>
                    <a:gd name="connsiteY0" fmla="*/ 39053 h 402931"/>
                    <a:gd name="connsiteX1" fmla="*/ 19679 w 235999"/>
                    <a:gd name="connsiteY1" fmla="*/ 312039 h 402931"/>
                    <a:gd name="connsiteX2" fmla="*/ 58159 w 235999"/>
                    <a:gd name="connsiteY2" fmla="*/ 243840 h 402931"/>
                    <a:gd name="connsiteX3" fmla="*/ 124454 w 235999"/>
                    <a:gd name="connsiteY3" fmla="*/ 402336 h 402931"/>
                    <a:gd name="connsiteX4" fmla="*/ 142075 w 235999"/>
                    <a:gd name="connsiteY4" fmla="*/ 346520 h 402931"/>
                    <a:gd name="connsiteX5" fmla="*/ 165220 w 235999"/>
                    <a:gd name="connsiteY5" fmla="*/ 358045 h 402931"/>
                    <a:gd name="connsiteX6" fmla="*/ 179698 w 235999"/>
                    <a:gd name="connsiteY6" fmla="*/ 318230 h 402931"/>
                    <a:gd name="connsiteX7" fmla="*/ 206274 w 235999"/>
                    <a:gd name="connsiteY7" fmla="*/ 284607 h 402931"/>
                    <a:gd name="connsiteX8" fmla="*/ 230658 w 235999"/>
                    <a:gd name="connsiteY8" fmla="*/ 220789 h 402931"/>
                    <a:gd name="connsiteX9" fmla="*/ 185318 w 235999"/>
                    <a:gd name="connsiteY9" fmla="*/ 0 h 40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35999" h="402931">
                      <a:moveTo>
                        <a:pt x="13582" y="39053"/>
                      </a:moveTo>
                      <a:cubicBezTo>
                        <a:pt x="13582" y="39053"/>
                        <a:pt x="-20707" y="295465"/>
                        <a:pt x="19679" y="312039"/>
                      </a:cubicBezTo>
                      <a:cubicBezTo>
                        <a:pt x="60160" y="328613"/>
                        <a:pt x="58159" y="243840"/>
                        <a:pt x="58159" y="243840"/>
                      </a:cubicBezTo>
                      <a:cubicBezTo>
                        <a:pt x="58159" y="243840"/>
                        <a:pt x="95879" y="414242"/>
                        <a:pt x="124454" y="402336"/>
                      </a:cubicBezTo>
                      <a:cubicBezTo>
                        <a:pt x="152933" y="390430"/>
                        <a:pt x="142075" y="346520"/>
                        <a:pt x="142075" y="346520"/>
                      </a:cubicBezTo>
                      <a:cubicBezTo>
                        <a:pt x="142075" y="346520"/>
                        <a:pt x="150457" y="364236"/>
                        <a:pt x="165220" y="358045"/>
                      </a:cubicBezTo>
                      <a:cubicBezTo>
                        <a:pt x="179984" y="351854"/>
                        <a:pt x="176079" y="319754"/>
                        <a:pt x="179698" y="318230"/>
                      </a:cubicBezTo>
                      <a:cubicBezTo>
                        <a:pt x="196843" y="344805"/>
                        <a:pt x="220751" y="319183"/>
                        <a:pt x="206274" y="284607"/>
                      </a:cubicBezTo>
                      <a:cubicBezTo>
                        <a:pt x="234849" y="307277"/>
                        <a:pt x="242468" y="273844"/>
                        <a:pt x="230658" y="220789"/>
                      </a:cubicBezTo>
                      <a:cubicBezTo>
                        <a:pt x="218846" y="167735"/>
                        <a:pt x="185318" y="0"/>
                        <a:pt x="185318" y="0"/>
                      </a:cubicBezTo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8" name="îṡļíḑê"/>
                <p:cNvSpPr/>
                <p:nvPr/>
              </p:nvSpPr>
              <p:spPr>
                <a:xfrm>
                  <a:off x="7241590" y="5072028"/>
                  <a:ext cx="306100" cy="330838"/>
                </a:xfrm>
                <a:custGeom>
                  <a:avLst/>
                  <a:gdLst>
                    <a:gd name="connsiteX0" fmla="*/ 286034 w 306100"/>
                    <a:gd name="connsiteY0" fmla="*/ 3863 h 330838"/>
                    <a:gd name="connsiteX1" fmla="*/ 139825 w 306100"/>
                    <a:gd name="connsiteY1" fmla="*/ 94065 h 330838"/>
                    <a:gd name="connsiteX2" fmla="*/ 148303 w 306100"/>
                    <a:gd name="connsiteY2" fmla="*/ 16151 h 330838"/>
                    <a:gd name="connsiteX3" fmla="*/ 13333 w 306100"/>
                    <a:gd name="connsiteY3" fmla="*/ 182457 h 330838"/>
                    <a:gd name="connsiteX4" fmla="*/ 14762 w 306100"/>
                    <a:gd name="connsiteY4" fmla="*/ 283898 h 330838"/>
                    <a:gd name="connsiteX5" fmla="*/ 14762 w 306100"/>
                    <a:gd name="connsiteY5" fmla="*/ 283898 h 330838"/>
                    <a:gd name="connsiteX6" fmla="*/ 165447 w 306100"/>
                    <a:gd name="connsiteY6" fmla="*/ 305044 h 330838"/>
                    <a:gd name="connsiteX7" fmla="*/ 266603 w 306100"/>
                    <a:gd name="connsiteY7" fmla="*/ 213223 h 330838"/>
                    <a:gd name="connsiteX8" fmla="*/ 284034 w 306100"/>
                    <a:gd name="connsiteY8" fmla="*/ 147119 h 330838"/>
                    <a:gd name="connsiteX9" fmla="*/ 282033 w 306100"/>
                    <a:gd name="connsiteY9" fmla="*/ 104257 h 330838"/>
                    <a:gd name="connsiteX10" fmla="*/ 293463 w 306100"/>
                    <a:gd name="connsiteY10" fmla="*/ 63394 h 330838"/>
                    <a:gd name="connsiteX11" fmla="*/ 267937 w 306100"/>
                    <a:gd name="connsiteY11" fmla="*/ 59299 h 330838"/>
                    <a:gd name="connsiteX12" fmla="*/ 286034 w 306100"/>
                    <a:gd name="connsiteY12" fmla="*/ 3863 h 330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6100" h="330838">
                      <a:moveTo>
                        <a:pt x="286034" y="3863"/>
                      </a:moveTo>
                      <a:cubicBezTo>
                        <a:pt x="269842" y="-22426"/>
                        <a:pt x="139825" y="94065"/>
                        <a:pt x="139825" y="94065"/>
                      </a:cubicBezTo>
                      <a:cubicBezTo>
                        <a:pt x="139825" y="94065"/>
                        <a:pt x="190784" y="26247"/>
                        <a:pt x="148303" y="16151"/>
                      </a:cubicBezTo>
                      <a:cubicBezTo>
                        <a:pt x="118965" y="9197"/>
                        <a:pt x="52005" y="115687"/>
                        <a:pt x="13333" y="182457"/>
                      </a:cubicBezTo>
                      <a:cubicBezTo>
                        <a:pt x="-4955" y="213985"/>
                        <a:pt x="-4383" y="252847"/>
                        <a:pt x="14762" y="283898"/>
                      </a:cubicBezTo>
                      <a:lnTo>
                        <a:pt x="14762" y="283898"/>
                      </a:lnTo>
                      <a:cubicBezTo>
                        <a:pt x="47242" y="336572"/>
                        <a:pt x="119632" y="346763"/>
                        <a:pt x="165447" y="305044"/>
                      </a:cubicBezTo>
                      <a:cubicBezTo>
                        <a:pt x="205357" y="268658"/>
                        <a:pt x="247744" y="230177"/>
                        <a:pt x="266603" y="213223"/>
                      </a:cubicBezTo>
                      <a:cubicBezTo>
                        <a:pt x="307084" y="176933"/>
                        <a:pt x="320419" y="145310"/>
                        <a:pt x="284034" y="147119"/>
                      </a:cubicBezTo>
                      <a:cubicBezTo>
                        <a:pt x="315942" y="127403"/>
                        <a:pt x="311466" y="92636"/>
                        <a:pt x="282033" y="104257"/>
                      </a:cubicBezTo>
                      <a:cubicBezTo>
                        <a:pt x="279938" y="100828"/>
                        <a:pt x="301846" y="77015"/>
                        <a:pt x="293463" y="63394"/>
                      </a:cubicBezTo>
                      <a:cubicBezTo>
                        <a:pt x="285081" y="49774"/>
                        <a:pt x="267937" y="59299"/>
                        <a:pt x="267937" y="59299"/>
                      </a:cubicBezTo>
                      <a:cubicBezTo>
                        <a:pt x="267937" y="59299"/>
                        <a:pt x="302226" y="30152"/>
                        <a:pt x="286034" y="386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9" name="îŝḷídè"/>
                <p:cNvSpPr/>
                <p:nvPr/>
              </p:nvSpPr>
              <p:spPr>
                <a:xfrm>
                  <a:off x="8151298" y="4129773"/>
                  <a:ext cx="311579" cy="393287"/>
                </a:xfrm>
                <a:custGeom>
                  <a:avLst/>
                  <a:gdLst>
                    <a:gd name="connsiteX0" fmla="*/ 3357 w 311579"/>
                    <a:gd name="connsiteY0" fmla="*/ 37243 h 393287"/>
                    <a:gd name="connsiteX1" fmla="*/ 164043 w 311579"/>
                    <a:gd name="connsiteY1" fmla="*/ 164687 h 393287"/>
                    <a:gd name="connsiteX2" fmla="*/ 290250 w 311579"/>
                    <a:gd name="connsiteY2" fmla="*/ 0 h 393287"/>
                    <a:gd name="connsiteX3" fmla="*/ 193761 w 311579"/>
                    <a:gd name="connsiteY3" fmla="*/ 393287 h 393287"/>
                    <a:gd name="connsiteX4" fmla="*/ 3357 w 311579"/>
                    <a:gd name="connsiteY4" fmla="*/ 37243 h 393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579" h="393287">
                      <a:moveTo>
                        <a:pt x="3357" y="37243"/>
                      </a:moveTo>
                      <a:cubicBezTo>
                        <a:pt x="3357" y="37243"/>
                        <a:pt x="56697" y="178594"/>
                        <a:pt x="164043" y="164687"/>
                      </a:cubicBezTo>
                      <a:cubicBezTo>
                        <a:pt x="271295" y="150686"/>
                        <a:pt x="290250" y="0"/>
                        <a:pt x="290250" y="0"/>
                      </a:cubicBezTo>
                      <a:cubicBezTo>
                        <a:pt x="290250" y="0"/>
                        <a:pt x="379213" y="152400"/>
                        <a:pt x="193761" y="393287"/>
                      </a:cubicBezTo>
                      <a:cubicBezTo>
                        <a:pt x="-41125" y="209169"/>
                        <a:pt x="3357" y="37243"/>
                        <a:pt x="3357" y="37243"/>
                      </a:cubicBez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ïślîde"/>
                <p:cNvSpPr/>
                <p:nvPr/>
              </p:nvSpPr>
              <p:spPr>
                <a:xfrm>
                  <a:off x="8162751" y="5667108"/>
                  <a:ext cx="218979" cy="249745"/>
                </a:xfrm>
                <a:custGeom>
                  <a:avLst/>
                  <a:gdLst>
                    <a:gd name="connsiteX0" fmla="*/ 0 w 218979"/>
                    <a:gd name="connsiteY0" fmla="*/ 198501 h 249745"/>
                    <a:gd name="connsiteX1" fmla="*/ 152781 w 218979"/>
                    <a:gd name="connsiteY1" fmla="*/ 0 h 249745"/>
                    <a:gd name="connsiteX2" fmla="*/ 218980 w 218979"/>
                    <a:gd name="connsiteY2" fmla="*/ 50959 h 249745"/>
                    <a:gd name="connsiteX3" fmla="*/ 65913 w 218979"/>
                    <a:gd name="connsiteY3" fmla="*/ 249746 h 249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8979" h="249745">
                      <a:moveTo>
                        <a:pt x="0" y="198501"/>
                      </a:moveTo>
                      <a:lnTo>
                        <a:pt x="152781" y="0"/>
                      </a:lnTo>
                      <a:lnTo>
                        <a:pt x="218980" y="50959"/>
                      </a:lnTo>
                      <a:lnTo>
                        <a:pt x="65913" y="249746"/>
                      </a:ln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ïṧḻîḋe"/>
                <p:cNvSpPr/>
                <p:nvPr/>
              </p:nvSpPr>
              <p:spPr>
                <a:xfrm>
                  <a:off x="8800545" y="5597385"/>
                  <a:ext cx="249459" cy="219170"/>
                </a:xfrm>
                <a:custGeom>
                  <a:avLst/>
                  <a:gdLst>
                    <a:gd name="connsiteX0" fmla="*/ 249460 w 249459"/>
                    <a:gd name="connsiteY0" fmla="*/ 152876 h 219170"/>
                    <a:gd name="connsiteX1" fmla="*/ 50959 w 249459"/>
                    <a:gd name="connsiteY1" fmla="*/ 0 h 219170"/>
                    <a:gd name="connsiteX2" fmla="*/ 0 w 249459"/>
                    <a:gd name="connsiteY2" fmla="*/ 66199 h 219170"/>
                    <a:gd name="connsiteX3" fmla="*/ 198787 w 249459"/>
                    <a:gd name="connsiteY3" fmla="*/ 219170 h 219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9459" h="219170">
                      <a:moveTo>
                        <a:pt x="249460" y="152876"/>
                      </a:moveTo>
                      <a:lnTo>
                        <a:pt x="50959" y="0"/>
                      </a:lnTo>
                      <a:lnTo>
                        <a:pt x="0" y="66199"/>
                      </a:lnTo>
                      <a:lnTo>
                        <a:pt x="198787" y="219170"/>
                      </a:ln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îsḻîḋê"/>
                <p:cNvSpPr/>
                <p:nvPr/>
              </p:nvSpPr>
              <p:spPr>
                <a:xfrm>
                  <a:off x="8162751" y="5667108"/>
                  <a:ext cx="152780" cy="198500"/>
                </a:xfrm>
                <a:custGeom>
                  <a:avLst/>
                  <a:gdLst>
                    <a:gd name="connsiteX0" fmla="*/ 0 w 152780"/>
                    <a:gd name="connsiteY0" fmla="*/ 198501 h 198500"/>
                    <a:gd name="connsiteX1" fmla="*/ 152781 w 152780"/>
                    <a:gd name="connsiteY1" fmla="*/ 0 h 198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780" h="198500">
                      <a:moveTo>
                        <a:pt x="0" y="198501"/>
                      </a:moveTo>
                      <a:lnTo>
                        <a:pt x="152781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îṡlíḑe"/>
                <p:cNvSpPr/>
                <p:nvPr/>
              </p:nvSpPr>
              <p:spPr>
                <a:xfrm>
                  <a:off x="8851504" y="5597385"/>
                  <a:ext cx="198501" cy="152876"/>
                </a:xfrm>
                <a:custGeom>
                  <a:avLst/>
                  <a:gdLst>
                    <a:gd name="connsiteX0" fmla="*/ 198501 w 198501"/>
                    <a:gd name="connsiteY0" fmla="*/ 152876 h 152876"/>
                    <a:gd name="connsiteX1" fmla="*/ 0 w 198501"/>
                    <a:gd name="connsiteY1" fmla="*/ 0 h 152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8501" h="152876">
                      <a:moveTo>
                        <a:pt x="198501" y="152876"/>
                      </a:moveTo>
                      <a:lnTo>
                        <a:pt x="0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0" name="î$ļiḍè"/>
              <p:cNvSpPr/>
              <p:nvPr/>
            </p:nvSpPr>
            <p:spPr>
              <a:xfrm>
                <a:off x="8005589" y="3632996"/>
                <a:ext cx="493871" cy="430581"/>
              </a:xfrm>
              <a:custGeom>
                <a:avLst/>
                <a:gdLst>
                  <a:gd name="connsiteX0" fmla="*/ 483965 w 493871"/>
                  <a:gd name="connsiteY0" fmla="*/ 189310 h 430581"/>
                  <a:gd name="connsiteX1" fmla="*/ 479203 w 493871"/>
                  <a:gd name="connsiteY1" fmla="*/ 226934 h 430581"/>
                  <a:gd name="connsiteX2" fmla="*/ 420148 w 493871"/>
                  <a:gd name="connsiteY2" fmla="*/ 136827 h 430581"/>
                  <a:gd name="connsiteX3" fmla="*/ 476250 w 493871"/>
                  <a:gd name="connsiteY3" fmla="*/ 6621 h 430581"/>
                  <a:gd name="connsiteX4" fmla="*/ 473583 w 493871"/>
                  <a:gd name="connsiteY4" fmla="*/ 334 h 430581"/>
                  <a:gd name="connsiteX5" fmla="*/ 467106 w 493871"/>
                  <a:gd name="connsiteY5" fmla="*/ 3001 h 430581"/>
                  <a:gd name="connsiteX6" fmla="*/ 411385 w 493871"/>
                  <a:gd name="connsiteY6" fmla="*/ 132160 h 430581"/>
                  <a:gd name="connsiteX7" fmla="*/ 240982 w 493871"/>
                  <a:gd name="connsiteY7" fmla="*/ 154354 h 430581"/>
                  <a:gd name="connsiteX8" fmla="*/ 0 w 493871"/>
                  <a:gd name="connsiteY8" fmla="*/ 191215 h 430581"/>
                  <a:gd name="connsiteX9" fmla="*/ 29623 w 493871"/>
                  <a:gd name="connsiteY9" fmla="*/ 303134 h 430581"/>
                  <a:gd name="connsiteX10" fmla="*/ 270224 w 493871"/>
                  <a:gd name="connsiteY10" fmla="*/ 428388 h 430581"/>
                  <a:gd name="connsiteX11" fmla="*/ 484822 w 493871"/>
                  <a:gd name="connsiteY11" fmla="*/ 243222 h 430581"/>
                  <a:gd name="connsiteX12" fmla="*/ 485204 w 493871"/>
                  <a:gd name="connsiteY12" fmla="*/ 243317 h 430581"/>
                  <a:gd name="connsiteX13" fmla="*/ 493871 w 493871"/>
                  <a:gd name="connsiteY13" fmla="*/ 188453 h 430581"/>
                  <a:gd name="connsiteX14" fmla="*/ 483965 w 493871"/>
                  <a:gd name="connsiteY14" fmla="*/ 189310 h 430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93871" h="430581">
                    <a:moveTo>
                      <a:pt x="483965" y="189310"/>
                    </a:moveTo>
                    <a:cubicBezTo>
                      <a:pt x="483965" y="189310"/>
                      <a:pt x="480917" y="218552"/>
                      <a:pt x="479203" y="226934"/>
                    </a:cubicBezTo>
                    <a:cubicBezTo>
                      <a:pt x="445579" y="190072"/>
                      <a:pt x="426434" y="150925"/>
                      <a:pt x="420148" y="136827"/>
                    </a:cubicBezTo>
                    <a:lnTo>
                      <a:pt x="476250" y="6621"/>
                    </a:lnTo>
                    <a:cubicBezTo>
                      <a:pt x="477298" y="4144"/>
                      <a:pt x="476155" y="1382"/>
                      <a:pt x="473583" y="334"/>
                    </a:cubicBezTo>
                    <a:cubicBezTo>
                      <a:pt x="471106" y="-618"/>
                      <a:pt x="468153" y="525"/>
                      <a:pt x="467106" y="3001"/>
                    </a:cubicBezTo>
                    <a:lnTo>
                      <a:pt x="411385" y="132160"/>
                    </a:lnTo>
                    <a:lnTo>
                      <a:pt x="240982" y="154354"/>
                    </a:lnTo>
                    <a:lnTo>
                      <a:pt x="0" y="191215"/>
                    </a:lnTo>
                    <a:cubicBezTo>
                      <a:pt x="0" y="191215"/>
                      <a:pt x="18955" y="276559"/>
                      <a:pt x="29623" y="303134"/>
                    </a:cubicBezTo>
                    <a:cubicBezTo>
                      <a:pt x="65341" y="392002"/>
                      <a:pt x="166401" y="441913"/>
                      <a:pt x="270224" y="428388"/>
                    </a:cubicBezTo>
                    <a:cubicBezTo>
                      <a:pt x="373951" y="414862"/>
                      <a:pt x="460153" y="335710"/>
                      <a:pt x="484822" y="243222"/>
                    </a:cubicBezTo>
                    <a:lnTo>
                      <a:pt x="485204" y="243317"/>
                    </a:lnTo>
                    <a:cubicBezTo>
                      <a:pt x="485489" y="242365"/>
                      <a:pt x="493871" y="188453"/>
                      <a:pt x="493871" y="188453"/>
                    </a:cubicBezTo>
                    <a:lnTo>
                      <a:pt x="483965" y="189310"/>
                    </a:ln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1" name="îṧľîḓê"/>
              <p:cNvSpPr/>
              <p:nvPr/>
            </p:nvSpPr>
            <p:spPr>
              <a:xfrm>
                <a:off x="8196299" y="3152438"/>
                <a:ext cx="321670" cy="267214"/>
              </a:xfrm>
              <a:custGeom>
                <a:avLst/>
                <a:gdLst>
                  <a:gd name="connsiteX0" fmla="*/ 73418 w 321670"/>
                  <a:gd name="connsiteY0" fmla="*/ 216288 h 267214"/>
                  <a:gd name="connsiteX1" fmla="*/ 3600 w 321670"/>
                  <a:gd name="connsiteY1" fmla="*/ 118276 h 267214"/>
                  <a:gd name="connsiteX2" fmla="*/ 32079 w 321670"/>
                  <a:gd name="connsiteY2" fmla="*/ 19597 h 267214"/>
                  <a:gd name="connsiteX3" fmla="*/ 320211 w 321670"/>
                  <a:gd name="connsiteY3" fmla="*/ 180855 h 267214"/>
                  <a:gd name="connsiteX4" fmla="*/ 73418 w 321670"/>
                  <a:gd name="connsiteY4" fmla="*/ 216288 h 267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1670" h="267214">
                    <a:moveTo>
                      <a:pt x="73418" y="216288"/>
                    </a:moveTo>
                    <a:cubicBezTo>
                      <a:pt x="39223" y="192856"/>
                      <a:pt x="12935" y="158757"/>
                      <a:pt x="3600" y="118276"/>
                    </a:cubicBezTo>
                    <a:cubicBezTo>
                      <a:pt x="-3734" y="86557"/>
                      <a:pt x="-2401" y="47695"/>
                      <a:pt x="32079" y="19597"/>
                    </a:cubicBezTo>
                    <a:cubicBezTo>
                      <a:pt x="101136" y="-36601"/>
                      <a:pt x="342595" y="31408"/>
                      <a:pt x="320211" y="180855"/>
                    </a:cubicBezTo>
                    <a:cubicBezTo>
                      <a:pt x="301827" y="304108"/>
                      <a:pt x="160191" y="276010"/>
                      <a:pt x="73418" y="216288"/>
                    </a:cubicBez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2" name="ísļïḑé"/>
              <p:cNvSpPr/>
              <p:nvPr/>
            </p:nvSpPr>
            <p:spPr>
              <a:xfrm>
                <a:off x="7870060" y="3268944"/>
                <a:ext cx="701920" cy="509402"/>
              </a:xfrm>
              <a:custGeom>
                <a:avLst/>
                <a:gdLst>
                  <a:gd name="connsiteX0" fmla="*/ 697598 w 701920"/>
                  <a:gd name="connsiteY0" fmla="*/ 265898 h 509402"/>
                  <a:gd name="connsiteX1" fmla="*/ 143244 w 701920"/>
                  <a:gd name="connsiteY1" fmla="*/ 91114 h 509402"/>
                  <a:gd name="connsiteX2" fmla="*/ 69997 w 701920"/>
                  <a:gd name="connsiteY2" fmla="*/ 209224 h 509402"/>
                  <a:gd name="connsiteX3" fmla="*/ 8656 w 701920"/>
                  <a:gd name="connsiteY3" fmla="*/ 475257 h 509402"/>
                  <a:gd name="connsiteX4" fmla="*/ 156198 w 701920"/>
                  <a:gd name="connsiteY4" fmla="*/ 389818 h 509402"/>
                  <a:gd name="connsiteX5" fmla="*/ 514719 w 701920"/>
                  <a:gd name="connsiteY5" fmla="*/ 197222 h 509402"/>
                  <a:gd name="connsiteX6" fmla="*/ 685978 w 701920"/>
                  <a:gd name="connsiteY6" fmla="*/ 373625 h 509402"/>
                  <a:gd name="connsiteX7" fmla="*/ 697598 w 701920"/>
                  <a:gd name="connsiteY7" fmla="*/ 265898 h 50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1920" h="509402">
                    <a:moveTo>
                      <a:pt x="697598" y="265898"/>
                    </a:moveTo>
                    <a:cubicBezTo>
                      <a:pt x="652545" y="9103"/>
                      <a:pt x="333649" y="-87004"/>
                      <a:pt x="143244" y="91114"/>
                    </a:cubicBezTo>
                    <a:cubicBezTo>
                      <a:pt x="106096" y="125785"/>
                      <a:pt x="77712" y="165599"/>
                      <a:pt x="69997" y="209224"/>
                    </a:cubicBezTo>
                    <a:cubicBezTo>
                      <a:pt x="32277" y="421917"/>
                      <a:pt x="-21062" y="407629"/>
                      <a:pt x="8656" y="475257"/>
                    </a:cubicBezTo>
                    <a:cubicBezTo>
                      <a:pt x="38374" y="542885"/>
                      <a:pt x="147149" y="507833"/>
                      <a:pt x="156198" y="389818"/>
                    </a:cubicBezTo>
                    <a:cubicBezTo>
                      <a:pt x="165247" y="271803"/>
                      <a:pt x="414706" y="327048"/>
                      <a:pt x="514719" y="197222"/>
                    </a:cubicBezTo>
                    <a:cubicBezTo>
                      <a:pt x="531673" y="327524"/>
                      <a:pt x="618636" y="461160"/>
                      <a:pt x="685978" y="373625"/>
                    </a:cubicBezTo>
                    <a:cubicBezTo>
                      <a:pt x="702742" y="351908"/>
                      <a:pt x="705695" y="312380"/>
                      <a:pt x="697598" y="265898"/>
                    </a:cubicBez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ïş1íďè"/>
              <p:cNvSpPr/>
              <p:nvPr/>
            </p:nvSpPr>
            <p:spPr>
              <a:xfrm>
                <a:off x="8199898" y="3265641"/>
                <a:ext cx="297275" cy="118134"/>
              </a:xfrm>
              <a:custGeom>
                <a:avLst/>
                <a:gdLst>
                  <a:gd name="connsiteX0" fmla="*/ 0 w 297275"/>
                  <a:gd name="connsiteY0" fmla="*/ 5168 h 118134"/>
                  <a:gd name="connsiteX1" fmla="*/ 297275 w 297275"/>
                  <a:gd name="connsiteY1" fmla="*/ 118134 h 11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275" h="118134">
                    <a:moveTo>
                      <a:pt x="0" y="5168"/>
                    </a:moveTo>
                    <a:cubicBezTo>
                      <a:pt x="0" y="5168"/>
                      <a:pt x="175356" y="-36742"/>
                      <a:pt x="297275" y="11813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4" name="图形 278"/>
              <p:cNvGrpSpPr/>
              <p:nvPr/>
            </p:nvGrpSpPr>
            <p:grpSpPr>
              <a:xfrm>
                <a:off x="7880049" y="3167949"/>
                <a:ext cx="567689" cy="327363"/>
                <a:chOff x="7880049" y="3167949"/>
                <a:chExt cx="567689" cy="327363"/>
              </a:xfrm>
              <a:solidFill>
                <a:schemeClr val="accent1"/>
              </a:solidFill>
            </p:grpSpPr>
            <p:sp>
              <p:nvSpPr>
                <p:cNvPr id="115" name="ïšļïḓé"/>
                <p:cNvSpPr/>
                <p:nvPr/>
              </p:nvSpPr>
              <p:spPr>
                <a:xfrm>
                  <a:off x="7880049" y="3167949"/>
                  <a:ext cx="567689" cy="327363"/>
                </a:xfrm>
                <a:custGeom>
                  <a:avLst/>
                  <a:gdLst>
                    <a:gd name="connsiteX0" fmla="*/ 510349 w 567689"/>
                    <a:gd name="connsiteY0" fmla="*/ 276881 h 327363"/>
                    <a:gd name="connsiteX1" fmla="*/ 122396 w 567689"/>
                    <a:gd name="connsiteY1" fmla="*/ 327364 h 327363"/>
                    <a:gd name="connsiteX2" fmla="*/ 0 w 567689"/>
                    <a:gd name="connsiteY2" fmla="*/ 89620 h 327363"/>
                    <a:gd name="connsiteX3" fmla="*/ 567690 w 567689"/>
                    <a:gd name="connsiteY3" fmla="*/ 15801 h 327363"/>
                    <a:gd name="connsiteX4" fmla="*/ 510349 w 567689"/>
                    <a:gd name="connsiteY4" fmla="*/ 276881 h 32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7689" h="327363">
                      <a:moveTo>
                        <a:pt x="510349" y="276881"/>
                      </a:moveTo>
                      <a:cubicBezTo>
                        <a:pt x="378904" y="254021"/>
                        <a:pt x="243649" y="271642"/>
                        <a:pt x="122396" y="327364"/>
                      </a:cubicBezTo>
                      <a:cubicBezTo>
                        <a:pt x="82677" y="247639"/>
                        <a:pt x="41814" y="168391"/>
                        <a:pt x="0" y="89620"/>
                      </a:cubicBezTo>
                      <a:cubicBezTo>
                        <a:pt x="176689" y="5704"/>
                        <a:pt x="375475" y="-20204"/>
                        <a:pt x="567690" y="15801"/>
                      </a:cubicBezTo>
                      <a:cubicBezTo>
                        <a:pt x="547592" y="102574"/>
                        <a:pt x="528447" y="189632"/>
                        <a:pt x="510349" y="276881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6" name="iṡḷidê"/>
                <p:cNvSpPr/>
                <p:nvPr/>
              </p:nvSpPr>
              <p:spPr>
                <a:xfrm>
                  <a:off x="8089789" y="3225184"/>
                  <a:ext cx="172021" cy="172021"/>
                </a:xfrm>
                <a:custGeom>
                  <a:avLst/>
                  <a:gdLst>
                    <a:gd name="connsiteX0" fmla="*/ 163830 w 172021"/>
                    <a:gd name="connsiteY0" fmla="*/ 43910 h 172021"/>
                    <a:gd name="connsiteX1" fmla="*/ 113443 w 172021"/>
                    <a:gd name="connsiteY1" fmla="*/ 50387 h 172021"/>
                    <a:gd name="connsiteX2" fmla="*/ 106871 w 172021"/>
                    <a:gd name="connsiteY2" fmla="*/ 0 h 172021"/>
                    <a:gd name="connsiteX3" fmla="*/ 43910 w 172021"/>
                    <a:gd name="connsiteY3" fmla="*/ 8192 h 172021"/>
                    <a:gd name="connsiteX4" fmla="*/ 50388 w 172021"/>
                    <a:gd name="connsiteY4" fmla="*/ 58579 h 172021"/>
                    <a:gd name="connsiteX5" fmla="*/ 0 w 172021"/>
                    <a:gd name="connsiteY5" fmla="*/ 65151 h 172021"/>
                    <a:gd name="connsiteX6" fmla="*/ 8191 w 172021"/>
                    <a:gd name="connsiteY6" fmla="*/ 128207 h 172021"/>
                    <a:gd name="connsiteX7" fmla="*/ 58579 w 172021"/>
                    <a:gd name="connsiteY7" fmla="*/ 121634 h 172021"/>
                    <a:gd name="connsiteX8" fmla="*/ 65151 w 172021"/>
                    <a:gd name="connsiteY8" fmla="*/ 172022 h 172021"/>
                    <a:gd name="connsiteX9" fmla="*/ 128207 w 172021"/>
                    <a:gd name="connsiteY9" fmla="*/ 163830 h 172021"/>
                    <a:gd name="connsiteX10" fmla="*/ 121634 w 172021"/>
                    <a:gd name="connsiteY10" fmla="*/ 113443 h 172021"/>
                    <a:gd name="connsiteX11" fmla="*/ 172021 w 172021"/>
                    <a:gd name="connsiteY11" fmla="*/ 106870 h 172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2021" h="172021">
                      <a:moveTo>
                        <a:pt x="163830" y="43910"/>
                      </a:moveTo>
                      <a:lnTo>
                        <a:pt x="113443" y="50387"/>
                      </a:lnTo>
                      <a:lnTo>
                        <a:pt x="106871" y="0"/>
                      </a:lnTo>
                      <a:lnTo>
                        <a:pt x="43910" y="8192"/>
                      </a:lnTo>
                      <a:lnTo>
                        <a:pt x="50388" y="58579"/>
                      </a:lnTo>
                      <a:lnTo>
                        <a:pt x="0" y="65151"/>
                      </a:lnTo>
                      <a:lnTo>
                        <a:pt x="8191" y="128207"/>
                      </a:lnTo>
                      <a:lnTo>
                        <a:pt x="58579" y="121634"/>
                      </a:lnTo>
                      <a:lnTo>
                        <a:pt x="65151" y="172022"/>
                      </a:lnTo>
                      <a:lnTo>
                        <a:pt x="128207" y="163830"/>
                      </a:lnTo>
                      <a:lnTo>
                        <a:pt x="121634" y="113443"/>
                      </a:lnTo>
                      <a:lnTo>
                        <a:pt x="172021" y="106870"/>
                      </a:lnTo>
                      <a:close/>
                    </a:path>
                  </a:pathLst>
                </a:custGeom>
                <a:solidFill>
                  <a:srgbClr val="4870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8" name="图形 278"/>
            <p:cNvGrpSpPr/>
            <p:nvPr userDrawn="1"/>
          </p:nvGrpSpPr>
          <p:grpSpPr>
            <a:xfrm>
              <a:off x="459836" y="798863"/>
              <a:ext cx="2528554" cy="4072982"/>
              <a:chOff x="509621" y="3282858"/>
              <a:chExt cx="1979128" cy="3187970"/>
            </a:xfrm>
            <a:solidFill>
              <a:schemeClr val="accent1"/>
            </a:solidFill>
          </p:grpSpPr>
          <p:sp>
            <p:nvSpPr>
              <p:cNvPr id="61" name="íṧlíďè"/>
              <p:cNvSpPr/>
              <p:nvPr/>
            </p:nvSpPr>
            <p:spPr>
              <a:xfrm>
                <a:off x="509621" y="3364505"/>
                <a:ext cx="1553606" cy="1407532"/>
              </a:xfrm>
              <a:custGeom>
                <a:avLst/>
                <a:gdLst>
                  <a:gd name="connsiteX0" fmla="*/ 1482168 w 1553606"/>
                  <a:gd name="connsiteY0" fmla="*/ 259872 h 1407532"/>
                  <a:gd name="connsiteX1" fmla="*/ 872854 w 1553606"/>
                  <a:gd name="connsiteY1" fmla="*/ 96423 h 1407532"/>
                  <a:gd name="connsiteX2" fmla="*/ 774175 w 1553606"/>
                  <a:gd name="connsiteY2" fmla="*/ 252442 h 1407532"/>
                  <a:gd name="connsiteX3" fmla="*/ 318785 w 1553606"/>
                  <a:gd name="connsiteY3" fmla="*/ 626013 h 1407532"/>
                  <a:gd name="connsiteX4" fmla="*/ 56466 w 1553606"/>
                  <a:gd name="connsiteY4" fmla="*/ 1024729 h 1407532"/>
                  <a:gd name="connsiteX5" fmla="*/ 644730 w 1553606"/>
                  <a:gd name="connsiteY5" fmla="*/ 1385346 h 1407532"/>
                  <a:gd name="connsiteX6" fmla="*/ 1553606 w 1553606"/>
                  <a:gd name="connsiteY6" fmla="*/ 693259 h 1407532"/>
                  <a:gd name="connsiteX7" fmla="*/ 1482168 w 1553606"/>
                  <a:gd name="connsiteY7" fmla="*/ 259872 h 140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3606" h="1407532">
                    <a:moveTo>
                      <a:pt x="1482168" y="259872"/>
                    </a:moveTo>
                    <a:cubicBezTo>
                      <a:pt x="1394919" y="4411"/>
                      <a:pt x="1070879" y="-87029"/>
                      <a:pt x="872854" y="96423"/>
                    </a:cubicBezTo>
                    <a:cubicBezTo>
                      <a:pt x="829801" y="136332"/>
                      <a:pt x="793796" y="187291"/>
                      <a:pt x="774175" y="252442"/>
                    </a:cubicBezTo>
                    <a:cubicBezTo>
                      <a:pt x="695879" y="512856"/>
                      <a:pt x="384412" y="345692"/>
                      <a:pt x="318785" y="626013"/>
                    </a:cubicBezTo>
                    <a:cubicBezTo>
                      <a:pt x="253253" y="906333"/>
                      <a:pt x="185816" y="935480"/>
                      <a:pt x="56466" y="1024729"/>
                    </a:cubicBezTo>
                    <a:cubicBezTo>
                      <a:pt x="-72883" y="1113979"/>
                      <a:pt x="-20020" y="1503741"/>
                      <a:pt x="644730" y="1385346"/>
                    </a:cubicBezTo>
                    <a:cubicBezTo>
                      <a:pt x="1309575" y="1266950"/>
                      <a:pt x="1553606" y="926336"/>
                      <a:pt x="1553606" y="693259"/>
                    </a:cubicBezTo>
                    <a:cubicBezTo>
                      <a:pt x="1553796" y="581436"/>
                      <a:pt x="1533318" y="409414"/>
                      <a:pt x="1482168" y="259872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îšľiḋe"/>
              <p:cNvSpPr/>
              <p:nvPr/>
            </p:nvSpPr>
            <p:spPr>
              <a:xfrm>
                <a:off x="1122538" y="6380912"/>
                <a:ext cx="977645" cy="89916"/>
              </a:xfrm>
              <a:custGeom>
                <a:avLst/>
                <a:gdLst>
                  <a:gd name="connsiteX0" fmla="*/ 0 w 977645"/>
                  <a:gd name="connsiteY0" fmla="*/ 0 h 89916"/>
                  <a:gd name="connsiteX1" fmla="*/ 0 w 977645"/>
                  <a:gd name="connsiteY1" fmla="*/ 89916 h 89916"/>
                  <a:gd name="connsiteX2" fmla="*/ 977646 w 977645"/>
                  <a:gd name="connsiteY2" fmla="*/ 89916 h 89916"/>
                  <a:gd name="connsiteX3" fmla="*/ 976789 w 977645"/>
                  <a:gd name="connsiteY3" fmla="*/ 0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7645" h="89916">
                    <a:moveTo>
                      <a:pt x="0" y="0"/>
                    </a:moveTo>
                    <a:lnTo>
                      <a:pt x="0" y="89916"/>
                    </a:lnTo>
                    <a:lnTo>
                      <a:pt x="977646" y="89916"/>
                    </a:lnTo>
                    <a:lnTo>
                      <a:pt x="97678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íşḻîḍé"/>
              <p:cNvSpPr/>
              <p:nvPr/>
            </p:nvSpPr>
            <p:spPr>
              <a:xfrm>
                <a:off x="940134" y="4253367"/>
                <a:ext cx="678275" cy="877674"/>
              </a:xfrm>
              <a:custGeom>
                <a:avLst/>
                <a:gdLst>
                  <a:gd name="connsiteX0" fmla="*/ 0 w 678275"/>
                  <a:gd name="connsiteY0" fmla="*/ 763565 h 877674"/>
                  <a:gd name="connsiteX1" fmla="*/ 590169 w 678275"/>
                  <a:gd name="connsiteY1" fmla="*/ 877674 h 877674"/>
                  <a:gd name="connsiteX2" fmla="*/ 678275 w 678275"/>
                  <a:gd name="connsiteY2" fmla="*/ 993 h 877674"/>
                  <a:gd name="connsiteX3" fmla="*/ 0 w 678275"/>
                  <a:gd name="connsiteY3" fmla="*/ 763565 h 877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8275" h="877674">
                    <a:moveTo>
                      <a:pt x="0" y="763565"/>
                    </a:moveTo>
                    <a:cubicBezTo>
                      <a:pt x="195644" y="801379"/>
                      <a:pt x="360902" y="833383"/>
                      <a:pt x="590169" y="877674"/>
                    </a:cubicBezTo>
                    <a:lnTo>
                      <a:pt x="678275" y="993"/>
                    </a:lnTo>
                    <a:cubicBezTo>
                      <a:pt x="678275" y="993"/>
                      <a:pt x="55054" y="-59491"/>
                      <a:pt x="0" y="763565"/>
                    </a:cubicBezTo>
                    <a:close/>
                  </a:path>
                </a:pathLst>
              </a:custGeom>
              <a:solidFill>
                <a:srgbClr val="56C7A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iśľiḋé"/>
              <p:cNvSpPr/>
              <p:nvPr/>
            </p:nvSpPr>
            <p:spPr>
              <a:xfrm>
                <a:off x="1104155" y="4245978"/>
                <a:ext cx="1009459" cy="2176938"/>
              </a:xfrm>
              <a:custGeom>
                <a:avLst/>
                <a:gdLst>
                  <a:gd name="connsiteX0" fmla="*/ 1009460 w 1009459"/>
                  <a:gd name="connsiteY0" fmla="*/ 742283 h 2176938"/>
                  <a:gd name="connsiteX1" fmla="*/ 645604 w 1009459"/>
                  <a:gd name="connsiteY1" fmla="*/ 0 h 2176938"/>
                  <a:gd name="connsiteX2" fmla="*/ 78772 w 1009459"/>
                  <a:gd name="connsiteY2" fmla="*/ 503587 h 2176938"/>
                  <a:gd name="connsiteX3" fmla="*/ 0 w 1009459"/>
                  <a:gd name="connsiteY3" fmla="*/ 2176939 h 2176938"/>
                  <a:gd name="connsiteX4" fmla="*/ 1009364 w 1009459"/>
                  <a:gd name="connsiteY4" fmla="*/ 2176939 h 2176938"/>
                  <a:gd name="connsiteX5" fmla="*/ 1009364 w 1009459"/>
                  <a:gd name="connsiteY5" fmla="*/ 742283 h 217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9" h="2176938">
                    <a:moveTo>
                      <a:pt x="1009460" y="742283"/>
                    </a:moveTo>
                    <a:cubicBezTo>
                      <a:pt x="1009460" y="335089"/>
                      <a:pt x="934307" y="0"/>
                      <a:pt x="645604" y="0"/>
                    </a:cubicBezTo>
                    <a:cubicBezTo>
                      <a:pt x="356902" y="0"/>
                      <a:pt x="78772" y="107442"/>
                      <a:pt x="78772" y="503587"/>
                    </a:cubicBezTo>
                    <a:cubicBezTo>
                      <a:pt x="78772" y="899731"/>
                      <a:pt x="0" y="2176939"/>
                      <a:pt x="0" y="2176939"/>
                    </a:cubicBezTo>
                    <a:lnTo>
                      <a:pt x="1009364" y="2176939"/>
                    </a:lnTo>
                    <a:lnTo>
                      <a:pt x="1009364" y="742283"/>
                    </a:lnTo>
                    <a:close/>
                  </a:path>
                </a:pathLst>
              </a:custGeom>
              <a:solidFill>
                <a:srgbClr val="56C7A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5" name="图形 278"/>
              <p:cNvGrpSpPr/>
              <p:nvPr/>
            </p:nvGrpSpPr>
            <p:grpSpPr>
              <a:xfrm>
                <a:off x="1454198" y="4205497"/>
                <a:ext cx="444341" cy="867346"/>
                <a:chOff x="1454198" y="4205497"/>
                <a:chExt cx="444341" cy="867346"/>
              </a:xfrm>
              <a:solidFill>
                <a:schemeClr val="accent1"/>
              </a:solidFill>
            </p:grpSpPr>
            <p:sp>
              <p:nvSpPr>
                <p:cNvPr id="100" name="ïŝ1îḑè"/>
                <p:cNvSpPr/>
                <p:nvPr/>
              </p:nvSpPr>
              <p:spPr>
                <a:xfrm>
                  <a:off x="1454198" y="4205497"/>
                  <a:ext cx="444341" cy="699134"/>
                </a:xfrm>
                <a:custGeom>
                  <a:avLst/>
                  <a:gdLst>
                    <a:gd name="connsiteX0" fmla="*/ 220980 w 444341"/>
                    <a:gd name="connsiteY0" fmla="*/ 0 h 699134"/>
                    <a:gd name="connsiteX1" fmla="*/ 220980 w 444341"/>
                    <a:gd name="connsiteY1" fmla="*/ 0 h 699134"/>
                    <a:gd name="connsiteX2" fmla="*/ 0 w 444341"/>
                    <a:gd name="connsiteY2" fmla="*/ 201549 h 699134"/>
                    <a:gd name="connsiteX3" fmla="*/ 223361 w 444341"/>
                    <a:gd name="connsiteY3" fmla="*/ 699135 h 699134"/>
                    <a:gd name="connsiteX4" fmla="*/ 444341 w 444341"/>
                    <a:gd name="connsiteY4" fmla="*/ 201549 h 699134"/>
                    <a:gd name="connsiteX5" fmla="*/ 220980 w 444341"/>
                    <a:gd name="connsiteY5" fmla="*/ 0 h 699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341" h="699134">
                      <a:moveTo>
                        <a:pt x="220980" y="0"/>
                      </a:moveTo>
                      <a:lnTo>
                        <a:pt x="220980" y="0"/>
                      </a:lnTo>
                      <a:cubicBezTo>
                        <a:pt x="197739" y="952"/>
                        <a:pt x="0" y="14383"/>
                        <a:pt x="0" y="201549"/>
                      </a:cubicBezTo>
                      <a:cubicBezTo>
                        <a:pt x="0" y="388430"/>
                        <a:pt x="199739" y="671798"/>
                        <a:pt x="223361" y="699135"/>
                      </a:cubicBezTo>
                      <a:cubicBezTo>
                        <a:pt x="247078" y="671893"/>
                        <a:pt x="444341" y="388525"/>
                        <a:pt x="444341" y="201549"/>
                      </a:cubicBezTo>
                      <a:cubicBezTo>
                        <a:pt x="444341" y="14383"/>
                        <a:pt x="244221" y="952"/>
                        <a:pt x="220980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iś1îḍé"/>
                <p:cNvSpPr/>
                <p:nvPr/>
              </p:nvSpPr>
              <p:spPr>
                <a:xfrm>
                  <a:off x="1552687" y="4924825"/>
                  <a:ext cx="247364" cy="148018"/>
                </a:xfrm>
                <a:custGeom>
                  <a:avLst/>
                  <a:gdLst>
                    <a:gd name="connsiteX0" fmla="*/ 0 w 247364"/>
                    <a:gd name="connsiteY0" fmla="*/ 0 h 148018"/>
                    <a:gd name="connsiteX1" fmla="*/ 247364 w 247364"/>
                    <a:gd name="connsiteY1" fmla="*/ 0 h 148018"/>
                    <a:gd name="connsiteX2" fmla="*/ 247364 w 247364"/>
                    <a:gd name="connsiteY2" fmla="*/ 148018 h 148018"/>
                    <a:gd name="connsiteX3" fmla="*/ 0 w 247364"/>
                    <a:gd name="connsiteY3" fmla="*/ 148018 h 14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4" h="148018">
                      <a:moveTo>
                        <a:pt x="0" y="0"/>
                      </a:moveTo>
                      <a:lnTo>
                        <a:pt x="247364" y="0"/>
                      </a:lnTo>
                      <a:lnTo>
                        <a:pt x="247364" y="148018"/>
                      </a:lnTo>
                      <a:lnTo>
                        <a:pt x="0" y="1480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2" name="íṩ1îḓê"/>
                <p:cNvSpPr/>
                <p:nvPr/>
              </p:nvSpPr>
              <p:spPr>
                <a:xfrm>
                  <a:off x="1677560" y="4904632"/>
                  <a:ext cx="9525" cy="40481"/>
                </a:xfrm>
                <a:custGeom>
                  <a:avLst/>
                  <a:gdLst>
                    <a:gd name="connsiteX0" fmla="*/ 0 w 9525"/>
                    <a:gd name="connsiteY0" fmla="*/ 0 h 40481"/>
                    <a:gd name="connsiteX1" fmla="*/ 0 w 9525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0481">
                      <a:moveTo>
                        <a:pt x="0" y="0"/>
                      </a:moveTo>
                      <a:lnTo>
                        <a:pt x="0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iṧļíḓê"/>
                <p:cNvSpPr/>
                <p:nvPr/>
              </p:nvSpPr>
              <p:spPr>
                <a:xfrm>
                  <a:off x="1580119" y="4964068"/>
                  <a:ext cx="56197" cy="56197"/>
                </a:xfrm>
                <a:custGeom>
                  <a:avLst/>
                  <a:gdLst>
                    <a:gd name="connsiteX0" fmla="*/ 0 w 56197"/>
                    <a:gd name="connsiteY0" fmla="*/ 0 h 56197"/>
                    <a:gd name="connsiteX1" fmla="*/ 56198 w 56197"/>
                    <a:gd name="connsiteY1" fmla="*/ 0 h 56197"/>
                    <a:gd name="connsiteX2" fmla="*/ 56198 w 56197"/>
                    <a:gd name="connsiteY2" fmla="*/ 56197 h 56197"/>
                    <a:gd name="connsiteX3" fmla="*/ 0 w 56197"/>
                    <a:gd name="connsiteY3" fmla="*/ 56197 h 56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56197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56197"/>
                      </a:lnTo>
                      <a:lnTo>
                        <a:pt x="0" y="56197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ïṡḻidé"/>
                <p:cNvSpPr/>
                <p:nvPr/>
              </p:nvSpPr>
              <p:spPr>
                <a:xfrm>
                  <a:off x="1664891" y="4964068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íṡļîḍe"/>
                <p:cNvSpPr/>
                <p:nvPr/>
              </p:nvSpPr>
              <p:spPr>
                <a:xfrm>
                  <a:off x="1664891" y="4987500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íşlidê"/>
                <p:cNvSpPr/>
                <p:nvPr/>
              </p:nvSpPr>
              <p:spPr>
                <a:xfrm>
                  <a:off x="1664891" y="5011026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iṣļiḋê"/>
                <p:cNvSpPr/>
                <p:nvPr/>
              </p:nvSpPr>
              <p:spPr>
                <a:xfrm>
                  <a:off x="1664891" y="5034553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íṡļídè"/>
                <p:cNvSpPr/>
                <p:nvPr/>
              </p:nvSpPr>
              <p:spPr>
                <a:xfrm>
                  <a:off x="1580119" y="5034553"/>
                  <a:ext cx="56197" cy="9144"/>
                </a:xfrm>
                <a:custGeom>
                  <a:avLst/>
                  <a:gdLst>
                    <a:gd name="connsiteX0" fmla="*/ 0 w 56197"/>
                    <a:gd name="connsiteY0" fmla="*/ 0 h 9144"/>
                    <a:gd name="connsiteX1" fmla="*/ 56198 w 56197"/>
                    <a:gd name="connsiteY1" fmla="*/ 0 h 9144"/>
                    <a:gd name="connsiteX2" fmla="*/ 56198 w 56197"/>
                    <a:gd name="connsiteY2" fmla="*/ 9144 h 9144"/>
                    <a:gd name="connsiteX3" fmla="*/ 0 w 56197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9144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6" name="iṣ1íďè"/>
              <p:cNvSpPr/>
              <p:nvPr/>
            </p:nvSpPr>
            <p:spPr>
              <a:xfrm>
                <a:off x="1626334" y="4794332"/>
                <a:ext cx="851496" cy="914304"/>
              </a:xfrm>
              <a:custGeom>
                <a:avLst/>
                <a:gdLst>
                  <a:gd name="connsiteX0" fmla="*/ 610629 w 851496"/>
                  <a:gd name="connsiteY0" fmla="*/ 914305 h 914304"/>
                  <a:gd name="connsiteX1" fmla="*/ 71704 w 851496"/>
                  <a:gd name="connsiteY1" fmla="*/ 914305 h 914304"/>
                  <a:gd name="connsiteX2" fmla="*/ 1695 w 851496"/>
                  <a:gd name="connsiteY2" fmla="*/ 827246 h 914304"/>
                  <a:gd name="connsiteX3" fmla="*/ 170860 w 851496"/>
                  <a:gd name="connsiteY3" fmla="*/ 56293 h 914304"/>
                  <a:gd name="connsiteX4" fmla="*/ 240868 w 851496"/>
                  <a:gd name="connsiteY4" fmla="*/ 0 h 914304"/>
                  <a:gd name="connsiteX5" fmla="*/ 779793 w 851496"/>
                  <a:gd name="connsiteY5" fmla="*/ 0 h 914304"/>
                  <a:gd name="connsiteX6" fmla="*/ 849802 w 851496"/>
                  <a:gd name="connsiteY6" fmla="*/ 87058 h 914304"/>
                  <a:gd name="connsiteX7" fmla="*/ 680637 w 851496"/>
                  <a:gd name="connsiteY7" fmla="*/ 858012 h 914304"/>
                  <a:gd name="connsiteX8" fmla="*/ 610629 w 851496"/>
                  <a:gd name="connsiteY8" fmla="*/ 914305 h 91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496" h="914304">
                    <a:moveTo>
                      <a:pt x="610629" y="914305"/>
                    </a:moveTo>
                    <a:lnTo>
                      <a:pt x="71704" y="914305"/>
                    </a:lnTo>
                    <a:cubicBezTo>
                      <a:pt x="25889" y="914305"/>
                      <a:pt x="-8115" y="871918"/>
                      <a:pt x="1695" y="827246"/>
                    </a:cubicBezTo>
                    <a:lnTo>
                      <a:pt x="170860" y="56293"/>
                    </a:lnTo>
                    <a:cubicBezTo>
                      <a:pt x="178098" y="23432"/>
                      <a:pt x="207245" y="0"/>
                      <a:pt x="240868" y="0"/>
                    </a:cubicBezTo>
                    <a:lnTo>
                      <a:pt x="779793" y="0"/>
                    </a:lnTo>
                    <a:cubicBezTo>
                      <a:pt x="825608" y="0"/>
                      <a:pt x="859612" y="42386"/>
                      <a:pt x="849802" y="87058"/>
                    </a:cubicBezTo>
                    <a:lnTo>
                      <a:pt x="680637" y="858012"/>
                    </a:lnTo>
                    <a:cubicBezTo>
                      <a:pt x="673494" y="890873"/>
                      <a:pt x="644347" y="914305"/>
                      <a:pt x="610629" y="914305"/>
                    </a:cubicBez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7" name="íşlíḋe"/>
              <p:cNvSpPr/>
              <p:nvPr/>
            </p:nvSpPr>
            <p:spPr>
              <a:xfrm>
                <a:off x="940253" y="5021980"/>
                <a:ext cx="896850" cy="587025"/>
              </a:xfrm>
              <a:custGeom>
                <a:avLst/>
                <a:gdLst>
                  <a:gd name="connsiteX0" fmla="*/ 319445 w 896850"/>
                  <a:gd name="connsiteY0" fmla="*/ 298323 h 587025"/>
                  <a:gd name="connsiteX1" fmla="*/ 393359 w 896850"/>
                  <a:gd name="connsiteY1" fmla="*/ 71056 h 587025"/>
                  <a:gd name="connsiteX2" fmla="*/ 25789 w 896850"/>
                  <a:gd name="connsiteY2" fmla="*/ 0 h 587025"/>
                  <a:gd name="connsiteX3" fmla="*/ 178475 w 896850"/>
                  <a:gd name="connsiteY3" fmla="*/ 587026 h 587025"/>
                  <a:gd name="connsiteX4" fmla="*/ 896850 w 896850"/>
                  <a:gd name="connsiteY4" fmla="*/ 540067 h 587025"/>
                  <a:gd name="connsiteX5" fmla="*/ 896850 w 896850"/>
                  <a:gd name="connsiteY5" fmla="*/ 358807 h 587025"/>
                  <a:gd name="connsiteX6" fmla="*/ 319445 w 896850"/>
                  <a:gd name="connsiteY6" fmla="*/ 298323 h 587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850" h="587025">
                    <a:moveTo>
                      <a:pt x="319445" y="298323"/>
                    </a:moveTo>
                    <a:cubicBezTo>
                      <a:pt x="319445" y="298323"/>
                      <a:pt x="350306" y="207359"/>
                      <a:pt x="393359" y="71056"/>
                    </a:cubicBezTo>
                    <a:lnTo>
                      <a:pt x="25789" y="0"/>
                    </a:lnTo>
                    <a:cubicBezTo>
                      <a:pt x="-35647" y="473012"/>
                      <a:pt x="11692" y="587026"/>
                      <a:pt x="178475" y="587026"/>
                    </a:cubicBezTo>
                    <a:cubicBezTo>
                      <a:pt x="359735" y="587026"/>
                      <a:pt x="896850" y="540067"/>
                      <a:pt x="896850" y="540067"/>
                    </a:cubicBezTo>
                    <a:lnTo>
                      <a:pt x="896850" y="358807"/>
                    </a:lnTo>
                    <a:lnTo>
                      <a:pt x="319445" y="298323"/>
                    </a:ln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8" name="图形 278"/>
              <p:cNvGrpSpPr/>
              <p:nvPr/>
            </p:nvGrpSpPr>
            <p:grpSpPr>
              <a:xfrm>
                <a:off x="1361520" y="3449879"/>
                <a:ext cx="560532" cy="962691"/>
                <a:chOff x="1361520" y="3449879"/>
                <a:chExt cx="560532" cy="962691"/>
              </a:xfrm>
              <a:solidFill>
                <a:schemeClr val="accent1"/>
              </a:solidFill>
            </p:grpSpPr>
            <p:sp>
              <p:nvSpPr>
                <p:cNvPr id="85" name="iŝḻïḋê"/>
                <p:cNvSpPr/>
                <p:nvPr/>
              </p:nvSpPr>
              <p:spPr>
                <a:xfrm>
                  <a:off x="1530303" y="4020617"/>
                  <a:ext cx="288702" cy="391953"/>
                </a:xfrm>
                <a:custGeom>
                  <a:avLst/>
                  <a:gdLst>
                    <a:gd name="connsiteX0" fmla="*/ 144304 w 288702"/>
                    <a:gd name="connsiteY0" fmla="*/ 391954 h 391953"/>
                    <a:gd name="connsiteX1" fmla="*/ 144304 w 288702"/>
                    <a:gd name="connsiteY1" fmla="*/ 391954 h 391953"/>
                    <a:gd name="connsiteX2" fmla="*/ 0 w 288702"/>
                    <a:gd name="connsiteY2" fmla="*/ 247650 h 391953"/>
                    <a:gd name="connsiteX3" fmla="*/ 0 w 288702"/>
                    <a:gd name="connsiteY3" fmla="*/ 0 h 391953"/>
                    <a:gd name="connsiteX4" fmla="*/ 288703 w 288702"/>
                    <a:gd name="connsiteY4" fmla="*/ 0 h 391953"/>
                    <a:gd name="connsiteX5" fmla="*/ 288703 w 288702"/>
                    <a:gd name="connsiteY5" fmla="*/ 247650 h 391953"/>
                    <a:gd name="connsiteX6" fmla="*/ 144304 w 288702"/>
                    <a:gd name="connsiteY6" fmla="*/ 391954 h 39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8702" h="391953">
                      <a:moveTo>
                        <a:pt x="144304" y="391954"/>
                      </a:moveTo>
                      <a:lnTo>
                        <a:pt x="144304" y="391954"/>
                      </a:lnTo>
                      <a:cubicBezTo>
                        <a:pt x="64579" y="391954"/>
                        <a:pt x="0" y="327374"/>
                        <a:pt x="0" y="247650"/>
                      </a:cubicBezTo>
                      <a:lnTo>
                        <a:pt x="0" y="0"/>
                      </a:lnTo>
                      <a:lnTo>
                        <a:pt x="288703" y="0"/>
                      </a:lnTo>
                      <a:lnTo>
                        <a:pt x="288703" y="247650"/>
                      </a:lnTo>
                      <a:cubicBezTo>
                        <a:pt x="288703" y="327279"/>
                        <a:pt x="224028" y="391954"/>
                        <a:pt x="144304" y="391954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îšḷîḋe"/>
                <p:cNvSpPr/>
                <p:nvPr/>
              </p:nvSpPr>
              <p:spPr>
                <a:xfrm>
                  <a:off x="1431338" y="3449879"/>
                  <a:ext cx="490061" cy="663511"/>
                </a:xfrm>
                <a:custGeom>
                  <a:avLst/>
                  <a:gdLst>
                    <a:gd name="connsiteX0" fmla="*/ 490061 w 490061"/>
                    <a:gd name="connsiteY0" fmla="*/ 376523 h 663511"/>
                    <a:gd name="connsiteX1" fmla="*/ 268510 w 490061"/>
                    <a:gd name="connsiteY1" fmla="*/ 663511 h 663511"/>
                    <a:gd name="connsiteX2" fmla="*/ 0 w 490061"/>
                    <a:gd name="connsiteY2" fmla="*/ 376523 h 663511"/>
                    <a:gd name="connsiteX3" fmla="*/ 245078 w 490061"/>
                    <a:gd name="connsiteY3" fmla="*/ 0 h 663511"/>
                    <a:gd name="connsiteX4" fmla="*/ 490061 w 490061"/>
                    <a:gd name="connsiteY4" fmla="*/ 376523 h 663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061" h="663511">
                      <a:moveTo>
                        <a:pt x="490061" y="376523"/>
                      </a:moveTo>
                      <a:cubicBezTo>
                        <a:pt x="490061" y="560070"/>
                        <a:pt x="403765" y="663511"/>
                        <a:pt x="268510" y="663511"/>
                      </a:cubicBezTo>
                      <a:cubicBezTo>
                        <a:pt x="133160" y="663511"/>
                        <a:pt x="0" y="560070"/>
                        <a:pt x="0" y="376523"/>
                      </a:cubicBezTo>
                      <a:cubicBezTo>
                        <a:pt x="0" y="192976"/>
                        <a:pt x="0" y="0"/>
                        <a:pt x="245078" y="0"/>
                      </a:cubicBezTo>
                      <a:cubicBezTo>
                        <a:pt x="490061" y="0"/>
                        <a:pt x="490061" y="192976"/>
                        <a:pt x="490061" y="37652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iŝ1ïḓé"/>
                <p:cNvSpPr/>
                <p:nvPr/>
              </p:nvSpPr>
              <p:spPr>
                <a:xfrm>
                  <a:off x="1361520" y="3743765"/>
                  <a:ext cx="95154" cy="171505"/>
                </a:xfrm>
                <a:custGeom>
                  <a:avLst/>
                  <a:gdLst>
                    <a:gd name="connsiteX0" fmla="*/ 0 w 95154"/>
                    <a:gd name="connsiteY0" fmla="*/ 67778 h 171505"/>
                    <a:gd name="connsiteX1" fmla="*/ 95155 w 95154"/>
                    <a:gd name="connsiteY1" fmla="*/ 171505 h 171505"/>
                    <a:gd name="connsiteX2" fmla="*/ 95155 w 95154"/>
                    <a:gd name="connsiteY2" fmla="*/ 5484 h 171505"/>
                    <a:gd name="connsiteX3" fmla="*/ 0 w 95154"/>
                    <a:gd name="connsiteY3" fmla="*/ 67778 h 171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154" h="171505">
                      <a:moveTo>
                        <a:pt x="0" y="67778"/>
                      </a:moveTo>
                      <a:cubicBezTo>
                        <a:pt x="0" y="162933"/>
                        <a:pt x="95155" y="171505"/>
                        <a:pt x="95155" y="171505"/>
                      </a:cubicBezTo>
                      <a:lnTo>
                        <a:pt x="95155" y="5484"/>
                      </a:lnTo>
                      <a:cubicBezTo>
                        <a:pt x="95155" y="5484"/>
                        <a:pt x="0" y="-27377"/>
                        <a:pt x="0" y="6777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işliḑê"/>
                <p:cNvSpPr/>
                <p:nvPr/>
              </p:nvSpPr>
              <p:spPr>
                <a:xfrm>
                  <a:off x="1393524" y="3783369"/>
                  <a:ext cx="45815" cy="92276"/>
                </a:xfrm>
                <a:custGeom>
                  <a:avLst/>
                  <a:gdLst>
                    <a:gd name="connsiteX0" fmla="*/ 0 w 45815"/>
                    <a:gd name="connsiteY0" fmla="*/ 36460 h 92276"/>
                    <a:gd name="connsiteX1" fmla="*/ 45815 w 45815"/>
                    <a:gd name="connsiteY1" fmla="*/ 92277 h 92276"/>
                    <a:gd name="connsiteX2" fmla="*/ 45815 w 45815"/>
                    <a:gd name="connsiteY2" fmla="*/ 2932 h 92276"/>
                    <a:gd name="connsiteX3" fmla="*/ 0 w 45815"/>
                    <a:gd name="connsiteY3" fmla="*/ 36460 h 92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815" h="92276">
                      <a:moveTo>
                        <a:pt x="0" y="36460"/>
                      </a:moveTo>
                      <a:cubicBezTo>
                        <a:pt x="0" y="87610"/>
                        <a:pt x="45815" y="92277"/>
                        <a:pt x="45815" y="92277"/>
                      </a:cubicBezTo>
                      <a:lnTo>
                        <a:pt x="45815" y="2932"/>
                      </a:lnTo>
                      <a:cubicBezTo>
                        <a:pt x="45815" y="2932"/>
                        <a:pt x="0" y="-14689"/>
                        <a:pt x="0" y="3646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iş1ïḓe"/>
                <p:cNvSpPr/>
                <p:nvPr/>
              </p:nvSpPr>
              <p:spPr>
                <a:xfrm>
                  <a:off x="1551353" y="3741820"/>
                  <a:ext cx="66484" cy="49529"/>
                </a:xfrm>
                <a:custGeom>
                  <a:avLst/>
                  <a:gdLst>
                    <a:gd name="connsiteX0" fmla="*/ 0 w 66484"/>
                    <a:gd name="connsiteY0" fmla="*/ 24765 h 49529"/>
                    <a:gd name="connsiteX1" fmla="*/ 33242 w 66484"/>
                    <a:gd name="connsiteY1" fmla="*/ 49530 h 49529"/>
                    <a:gd name="connsiteX2" fmla="*/ 66485 w 66484"/>
                    <a:gd name="connsiteY2" fmla="*/ 24765 h 49529"/>
                    <a:gd name="connsiteX3" fmla="*/ 33242 w 66484"/>
                    <a:gd name="connsiteY3" fmla="*/ 0 h 49529"/>
                    <a:gd name="connsiteX4" fmla="*/ 0 w 66484"/>
                    <a:gd name="connsiteY4" fmla="*/ 24765 h 49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29">
                      <a:moveTo>
                        <a:pt x="0" y="24765"/>
                      </a:moveTo>
                      <a:cubicBezTo>
                        <a:pt x="0" y="38481"/>
                        <a:pt x="14859" y="49530"/>
                        <a:pt x="33242" y="49530"/>
                      </a:cubicBezTo>
                      <a:cubicBezTo>
                        <a:pt x="51625" y="49530"/>
                        <a:pt x="66485" y="38481"/>
                        <a:pt x="66485" y="24765"/>
                      </a:cubicBezTo>
                      <a:cubicBezTo>
                        <a:pt x="66485" y="11049"/>
                        <a:pt x="51625" y="0"/>
                        <a:pt x="33242" y="0"/>
                      </a:cubicBezTo>
                      <a:cubicBezTo>
                        <a:pt x="14859" y="0"/>
                        <a:pt x="0" y="11049"/>
                        <a:pt x="0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ïŝľîdé"/>
                <p:cNvSpPr/>
                <p:nvPr/>
              </p:nvSpPr>
              <p:spPr>
                <a:xfrm>
                  <a:off x="1785668" y="3741820"/>
                  <a:ext cx="66484" cy="49529"/>
                </a:xfrm>
                <a:custGeom>
                  <a:avLst/>
                  <a:gdLst>
                    <a:gd name="connsiteX0" fmla="*/ 0 w 66484"/>
                    <a:gd name="connsiteY0" fmla="*/ 24765 h 49529"/>
                    <a:gd name="connsiteX1" fmla="*/ 33242 w 66484"/>
                    <a:gd name="connsiteY1" fmla="*/ 49530 h 49529"/>
                    <a:gd name="connsiteX2" fmla="*/ 66484 w 66484"/>
                    <a:gd name="connsiteY2" fmla="*/ 24765 h 49529"/>
                    <a:gd name="connsiteX3" fmla="*/ 33242 w 66484"/>
                    <a:gd name="connsiteY3" fmla="*/ 0 h 49529"/>
                    <a:gd name="connsiteX4" fmla="*/ 0 w 66484"/>
                    <a:gd name="connsiteY4" fmla="*/ 24765 h 49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29">
                      <a:moveTo>
                        <a:pt x="0" y="24765"/>
                      </a:moveTo>
                      <a:cubicBezTo>
                        <a:pt x="0" y="38481"/>
                        <a:pt x="14859" y="49530"/>
                        <a:pt x="33242" y="49530"/>
                      </a:cubicBezTo>
                      <a:cubicBezTo>
                        <a:pt x="51625" y="49530"/>
                        <a:pt x="66484" y="38481"/>
                        <a:pt x="66484" y="24765"/>
                      </a:cubicBezTo>
                      <a:cubicBezTo>
                        <a:pt x="66484" y="11049"/>
                        <a:pt x="51625" y="0"/>
                        <a:pt x="33242" y="0"/>
                      </a:cubicBezTo>
                      <a:cubicBezTo>
                        <a:pt x="14954" y="0"/>
                        <a:pt x="0" y="11049"/>
                        <a:pt x="0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iṩ1ïḓe"/>
                <p:cNvSpPr/>
                <p:nvPr/>
              </p:nvSpPr>
              <p:spPr>
                <a:xfrm>
                  <a:off x="1568784" y="3750774"/>
                  <a:ext cx="39623" cy="39623"/>
                </a:xfrm>
                <a:custGeom>
                  <a:avLst/>
                  <a:gdLst>
                    <a:gd name="connsiteX0" fmla="*/ 39624 w 39623"/>
                    <a:gd name="connsiteY0" fmla="*/ 19812 h 39623"/>
                    <a:gd name="connsiteX1" fmla="*/ 19812 w 39623"/>
                    <a:gd name="connsiteY1" fmla="*/ 39624 h 39623"/>
                    <a:gd name="connsiteX2" fmla="*/ 0 w 39623"/>
                    <a:gd name="connsiteY2" fmla="*/ 19812 h 39623"/>
                    <a:gd name="connsiteX3" fmla="*/ 19812 w 39623"/>
                    <a:gd name="connsiteY3" fmla="*/ 0 h 39623"/>
                    <a:gd name="connsiteX4" fmla="*/ 39624 w 39623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3" h="39623">
                      <a:moveTo>
                        <a:pt x="39624" y="19812"/>
                      </a:moveTo>
                      <a:cubicBezTo>
                        <a:pt x="39624" y="30754"/>
                        <a:pt x="30754" y="39624"/>
                        <a:pt x="19812" y="39624"/>
                      </a:cubicBezTo>
                      <a:cubicBezTo>
                        <a:pt x="8870" y="39624"/>
                        <a:pt x="0" y="30754"/>
                        <a:pt x="0" y="19812"/>
                      </a:cubicBezTo>
                      <a:cubicBezTo>
                        <a:pt x="0" y="8870"/>
                        <a:pt x="8870" y="0"/>
                        <a:pt x="19812" y="0"/>
                      </a:cubicBezTo>
                      <a:cubicBezTo>
                        <a:pt x="30754" y="0"/>
                        <a:pt x="39624" y="8870"/>
                        <a:pt x="39624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îṩlïḋe"/>
                <p:cNvSpPr/>
                <p:nvPr/>
              </p:nvSpPr>
              <p:spPr>
                <a:xfrm>
                  <a:off x="1803194" y="3750774"/>
                  <a:ext cx="39624" cy="39623"/>
                </a:xfrm>
                <a:custGeom>
                  <a:avLst/>
                  <a:gdLst>
                    <a:gd name="connsiteX0" fmla="*/ 39624 w 39624"/>
                    <a:gd name="connsiteY0" fmla="*/ 19812 h 39623"/>
                    <a:gd name="connsiteX1" fmla="*/ 19812 w 39624"/>
                    <a:gd name="connsiteY1" fmla="*/ 39624 h 39623"/>
                    <a:gd name="connsiteX2" fmla="*/ 0 w 39624"/>
                    <a:gd name="connsiteY2" fmla="*/ 19812 h 39623"/>
                    <a:gd name="connsiteX3" fmla="*/ 19812 w 39624"/>
                    <a:gd name="connsiteY3" fmla="*/ 0 h 39623"/>
                    <a:gd name="connsiteX4" fmla="*/ 39624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39624" y="19812"/>
                      </a:moveTo>
                      <a:cubicBezTo>
                        <a:pt x="39624" y="30754"/>
                        <a:pt x="30754" y="39624"/>
                        <a:pt x="19812" y="39624"/>
                      </a:cubicBezTo>
                      <a:cubicBezTo>
                        <a:pt x="8870" y="39624"/>
                        <a:pt x="0" y="30754"/>
                        <a:pt x="0" y="19812"/>
                      </a:cubicBezTo>
                      <a:cubicBezTo>
                        <a:pt x="0" y="8870"/>
                        <a:pt x="8870" y="0"/>
                        <a:pt x="19812" y="0"/>
                      </a:cubicBezTo>
                      <a:cubicBezTo>
                        <a:pt x="30754" y="0"/>
                        <a:pt x="39624" y="8870"/>
                        <a:pt x="39624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iṩlîḋè"/>
                <p:cNvSpPr/>
                <p:nvPr/>
              </p:nvSpPr>
              <p:spPr>
                <a:xfrm>
                  <a:off x="1699848" y="3783349"/>
                  <a:ext cx="46989" cy="131921"/>
                </a:xfrm>
                <a:custGeom>
                  <a:avLst/>
                  <a:gdLst>
                    <a:gd name="connsiteX0" fmla="*/ 0 w 46989"/>
                    <a:gd name="connsiteY0" fmla="*/ 0 h 131921"/>
                    <a:gd name="connsiteX1" fmla="*/ 0 w 46989"/>
                    <a:gd name="connsiteY1" fmla="*/ 131921 h 131921"/>
                    <a:gd name="connsiteX2" fmla="*/ 0 w 46989"/>
                    <a:gd name="connsiteY2" fmla="*/ 0 h 131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89" h="131921">
                      <a:moveTo>
                        <a:pt x="0" y="0"/>
                      </a:moveTo>
                      <a:lnTo>
                        <a:pt x="0" y="131921"/>
                      </a:lnTo>
                      <a:cubicBezTo>
                        <a:pt x="105727" y="131921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ïş1iďè"/>
                <p:cNvSpPr/>
                <p:nvPr/>
              </p:nvSpPr>
              <p:spPr>
                <a:xfrm>
                  <a:off x="1642793" y="3957275"/>
                  <a:ext cx="114109" cy="13123"/>
                </a:xfrm>
                <a:custGeom>
                  <a:avLst/>
                  <a:gdLst>
                    <a:gd name="connsiteX0" fmla="*/ 0 w 114109"/>
                    <a:gd name="connsiteY0" fmla="*/ 0 h 13123"/>
                    <a:gd name="connsiteX1" fmla="*/ 114109 w 114109"/>
                    <a:gd name="connsiteY1" fmla="*/ 0 h 13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109" h="13123">
                      <a:moveTo>
                        <a:pt x="0" y="0"/>
                      </a:moveTo>
                      <a:cubicBezTo>
                        <a:pt x="0" y="0"/>
                        <a:pt x="57055" y="29527"/>
                        <a:pt x="114109" y="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îṧ1îḓé"/>
                <p:cNvSpPr/>
                <p:nvPr/>
              </p:nvSpPr>
              <p:spPr>
                <a:xfrm>
                  <a:off x="1548115" y="3716081"/>
                  <a:ext cx="72961" cy="12022"/>
                </a:xfrm>
                <a:custGeom>
                  <a:avLst/>
                  <a:gdLst>
                    <a:gd name="connsiteX0" fmla="*/ 72961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1" y="12023"/>
                      </a:moveTo>
                      <a:cubicBezTo>
                        <a:pt x="72961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îŝļíďe"/>
                <p:cNvSpPr/>
                <p:nvPr/>
              </p:nvSpPr>
              <p:spPr>
                <a:xfrm>
                  <a:off x="1782525" y="371608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îśliḍe"/>
                <p:cNvSpPr/>
                <p:nvPr/>
              </p:nvSpPr>
              <p:spPr>
                <a:xfrm>
                  <a:off x="1468391" y="3816496"/>
                  <a:ext cx="140779" cy="140779"/>
                </a:xfrm>
                <a:custGeom>
                  <a:avLst/>
                  <a:gdLst>
                    <a:gd name="connsiteX0" fmla="*/ 140779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79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79" y="70390"/>
                      </a:moveTo>
                      <a:cubicBezTo>
                        <a:pt x="140779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5" y="0"/>
                        <a:pt x="70390" y="0"/>
                      </a:cubicBezTo>
                      <a:cubicBezTo>
                        <a:pt x="109265" y="0"/>
                        <a:pt x="140779" y="31515"/>
                        <a:pt x="140779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îsḷïḓè"/>
                <p:cNvSpPr/>
                <p:nvPr/>
              </p:nvSpPr>
              <p:spPr>
                <a:xfrm>
                  <a:off x="1799194" y="3816401"/>
                  <a:ext cx="121920" cy="140779"/>
                </a:xfrm>
                <a:custGeom>
                  <a:avLst/>
                  <a:gdLst>
                    <a:gd name="connsiteX0" fmla="*/ 70390 w 121920"/>
                    <a:gd name="connsiteY0" fmla="*/ 0 h 140779"/>
                    <a:gd name="connsiteX1" fmla="*/ 0 w 121920"/>
                    <a:gd name="connsiteY1" fmla="*/ 70390 h 140779"/>
                    <a:gd name="connsiteX2" fmla="*/ 70390 w 121920"/>
                    <a:gd name="connsiteY2" fmla="*/ 140779 h 140779"/>
                    <a:gd name="connsiteX3" fmla="*/ 107156 w 121920"/>
                    <a:gd name="connsiteY3" fmla="*/ 130207 h 140779"/>
                    <a:gd name="connsiteX4" fmla="*/ 121920 w 121920"/>
                    <a:gd name="connsiteY4" fmla="*/ 22574 h 140779"/>
                    <a:gd name="connsiteX5" fmla="*/ 70390 w 121920"/>
                    <a:gd name="connsiteY5" fmla="*/ 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1920" h="140779">
                      <a:moveTo>
                        <a:pt x="70390" y="0"/>
                      </a:moveTo>
                      <a:cubicBezTo>
                        <a:pt x="31528" y="0"/>
                        <a:pt x="0" y="31528"/>
                        <a:pt x="0" y="70390"/>
                      </a:cubicBezTo>
                      <a:cubicBezTo>
                        <a:pt x="0" y="109252"/>
                        <a:pt x="31528" y="140779"/>
                        <a:pt x="70390" y="140779"/>
                      </a:cubicBezTo>
                      <a:cubicBezTo>
                        <a:pt x="83915" y="140779"/>
                        <a:pt x="96393" y="136779"/>
                        <a:pt x="107156" y="130207"/>
                      </a:cubicBezTo>
                      <a:cubicBezTo>
                        <a:pt x="116015" y="98489"/>
                        <a:pt x="120968" y="62484"/>
                        <a:pt x="121920" y="22574"/>
                      </a:cubicBezTo>
                      <a:cubicBezTo>
                        <a:pt x="108966" y="8858"/>
                        <a:pt x="90773" y="0"/>
                        <a:pt x="70390" y="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ïśľiḓe"/>
                <p:cNvSpPr/>
                <p:nvPr/>
              </p:nvSpPr>
              <p:spPr>
                <a:xfrm>
                  <a:off x="1430516" y="3738119"/>
                  <a:ext cx="491536" cy="396130"/>
                </a:xfrm>
                <a:custGeom>
                  <a:avLst/>
                  <a:gdLst>
                    <a:gd name="connsiteX0" fmla="*/ 481454 w 491536"/>
                    <a:gd name="connsiteY0" fmla="*/ 150767 h 396130"/>
                    <a:gd name="connsiteX1" fmla="*/ 466119 w 491536"/>
                    <a:gd name="connsiteY1" fmla="*/ 227062 h 396130"/>
                    <a:gd name="connsiteX2" fmla="*/ 420494 w 491536"/>
                    <a:gd name="connsiteY2" fmla="*/ 129621 h 396130"/>
                    <a:gd name="connsiteX3" fmla="*/ 490884 w 491536"/>
                    <a:gd name="connsiteY3" fmla="*/ 7225 h 396130"/>
                    <a:gd name="connsiteX4" fmla="*/ 489074 w 491536"/>
                    <a:gd name="connsiteY4" fmla="*/ 653 h 396130"/>
                    <a:gd name="connsiteX5" fmla="*/ 482502 w 491536"/>
                    <a:gd name="connsiteY5" fmla="*/ 2462 h 396130"/>
                    <a:gd name="connsiteX6" fmla="*/ 412779 w 491536"/>
                    <a:gd name="connsiteY6" fmla="*/ 123906 h 396130"/>
                    <a:gd name="connsiteX7" fmla="*/ 245806 w 491536"/>
                    <a:gd name="connsiteY7" fmla="*/ 123906 h 396130"/>
                    <a:gd name="connsiteX8" fmla="*/ 78832 w 491536"/>
                    <a:gd name="connsiteY8" fmla="*/ 123906 h 396130"/>
                    <a:gd name="connsiteX9" fmla="*/ 9014 w 491536"/>
                    <a:gd name="connsiteY9" fmla="*/ 2462 h 396130"/>
                    <a:gd name="connsiteX10" fmla="*/ 2442 w 491536"/>
                    <a:gd name="connsiteY10" fmla="*/ 653 h 396130"/>
                    <a:gd name="connsiteX11" fmla="*/ 632 w 491536"/>
                    <a:gd name="connsiteY11" fmla="*/ 7225 h 396130"/>
                    <a:gd name="connsiteX12" fmla="*/ 71022 w 491536"/>
                    <a:gd name="connsiteY12" fmla="*/ 129621 h 396130"/>
                    <a:gd name="connsiteX13" fmla="*/ 25397 w 491536"/>
                    <a:gd name="connsiteY13" fmla="*/ 227062 h 396130"/>
                    <a:gd name="connsiteX14" fmla="*/ 10062 w 491536"/>
                    <a:gd name="connsiteY14" fmla="*/ 150767 h 396130"/>
                    <a:gd name="connsiteX15" fmla="*/ 4728 w 491536"/>
                    <a:gd name="connsiteY15" fmla="*/ 151338 h 396130"/>
                    <a:gd name="connsiteX16" fmla="*/ 346 w 491536"/>
                    <a:gd name="connsiteY16" fmla="*/ 150862 h 396130"/>
                    <a:gd name="connsiteX17" fmla="*/ 21492 w 491536"/>
                    <a:gd name="connsiteY17" fmla="*/ 244207 h 396130"/>
                    <a:gd name="connsiteX18" fmla="*/ 21873 w 491536"/>
                    <a:gd name="connsiteY18" fmla="*/ 244016 h 396130"/>
                    <a:gd name="connsiteX19" fmla="*/ 245710 w 491536"/>
                    <a:gd name="connsiteY19" fmla="*/ 396131 h 396130"/>
                    <a:gd name="connsiteX20" fmla="*/ 469548 w 491536"/>
                    <a:gd name="connsiteY20" fmla="*/ 244016 h 396130"/>
                    <a:gd name="connsiteX21" fmla="*/ 469929 w 491536"/>
                    <a:gd name="connsiteY21" fmla="*/ 244207 h 396130"/>
                    <a:gd name="connsiteX22" fmla="*/ 491074 w 491536"/>
                    <a:gd name="connsiteY22" fmla="*/ 150862 h 396130"/>
                    <a:gd name="connsiteX23" fmla="*/ 486693 w 491536"/>
                    <a:gd name="connsiteY23" fmla="*/ 151338 h 396130"/>
                    <a:gd name="connsiteX24" fmla="*/ 481454 w 491536"/>
                    <a:gd name="connsiteY24" fmla="*/ 150767 h 396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491536" h="396130">
                      <a:moveTo>
                        <a:pt x="481454" y="150767"/>
                      </a:moveTo>
                      <a:cubicBezTo>
                        <a:pt x="477073" y="188676"/>
                        <a:pt x="470596" y="213441"/>
                        <a:pt x="466119" y="227062"/>
                      </a:cubicBezTo>
                      <a:cubicBezTo>
                        <a:pt x="438306" y="185914"/>
                        <a:pt x="424780" y="144480"/>
                        <a:pt x="420494" y="129621"/>
                      </a:cubicBezTo>
                      <a:lnTo>
                        <a:pt x="490884" y="7225"/>
                      </a:lnTo>
                      <a:cubicBezTo>
                        <a:pt x="492217" y="4939"/>
                        <a:pt x="491455" y="1986"/>
                        <a:pt x="489074" y="653"/>
                      </a:cubicBezTo>
                      <a:cubicBezTo>
                        <a:pt x="486788" y="-681"/>
                        <a:pt x="483836" y="81"/>
                        <a:pt x="482502" y="2462"/>
                      </a:cubicBezTo>
                      <a:lnTo>
                        <a:pt x="412779" y="123906"/>
                      </a:lnTo>
                      <a:lnTo>
                        <a:pt x="245806" y="123906"/>
                      </a:lnTo>
                      <a:lnTo>
                        <a:pt x="78832" y="123906"/>
                      </a:lnTo>
                      <a:lnTo>
                        <a:pt x="9014" y="2462"/>
                      </a:lnTo>
                      <a:cubicBezTo>
                        <a:pt x="7681" y="176"/>
                        <a:pt x="4728" y="-681"/>
                        <a:pt x="2442" y="653"/>
                      </a:cubicBezTo>
                      <a:cubicBezTo>
                        <a:pt x="156" y="1986"/>
                        <a:pt x="-701" y="4939"/>
                        <a:pt x="632" y="7225"/>
                      </a:cubicBezTo>
                      <a:lnTo>
                        <a:pt x="71022" y="129621"/>
                      </a:lnTo>
                      <a:cubicBezTo>
                        <a:pt x="66736" y="144480"/>
                        <a:pt x="53210" y="185914"/>
                        <a:pt x="25397" y="227062"/>
                      </a:cubicBezTo>
                      <a:cubicBezTo>
                        <a:pt x="21016" y="213441"/>
                        <a:pt x="14443" y="188581"/>
                        <a:pt x="10062" y="150767"/>
                      </a:cubicBezTo>
                      <a:cubicBezTo>
                        <a:pt x="8252" y="150957"/>
                        <a:pt x="6538" y="151338"/>
                        <a:pt x="4728" y="151338"/>
                      </a:cubicBezTo>
                      <a:cubicBezTo>
                        <a:pt x="3204" y="151338"/>
                        <a:pt x="1775" y="151052"/>
                        <a:pt x="346" y="150862"/>
                      </a:cubicBezTo>
                      <a:cubicBezTo>
                        <a:pt x="7681" y="215346"/>
                        <a:pt x="20920" y="243064"/>
                        <a:pt x="21492" y="244207"/>
                      </a:cubicBezTo>
                      <a:lnTo>
                        <a:pt x="21873" y="244016"/>
                      </a:lnTo>
                      <a:cubicBezTo>
                        <a:pt x="57306" y="333075"/>
                        <a:pt x="144079" y="396131"/>
                        <a:pt x="245710" y="396131"/>
                      </a:cubicBezTo>
                      <a:cubicBezTo>
                        <a:pt x="347342" y="396131"/>
                        <a:pt x="434115" y="333075"/>
                        <a:pt x="469548" y="244016"/>
                      </a:cubicBezTo>
                      <a:lnTo>
                        <a:pt x="469929" y="244207"/>
                      </a:lnTo>
                      <a:cubicBezTo>
                        <a:pt x="470500" y="243064"/>
                        <a:pt x="483740" y="215251"/>
                        <a:pt x="491074" y="150862"/>
                      </a:cubicBezTo>
                      <a:cubicBezTo>
                        <a:pt x="489646" y="150957"/>
                        <a:pt x="488217" y="151338"/>
                        <a:pt x="486693" y="151338"/>
                      </a:cubicBezTo>
                      <a:cubicBezTo>
                        <a:pt x="484978" y="151338"/>
                        <a:pt x="483264" y="150957"/>
                        <a:pt x="481454" y="150767"/>
                      </a:cubicBezTo>
                      <a:close/>
                    </a:path>
                  </a:pathLst>
                </a:custGeom>
                <a:solidFill>
                  <a:srgbClr val="CCE9FC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9" name="îšļîdê"/>
              <p:cNvSpPr/>
              <p:nvPr/>
            </p:nvSpPr>
            <p:spPr>
              <a:xfrm>
                <a:off x="1798908" y="5315134"/>
                <a:ext cx="401733" cy="250437"/>
              </a:xfrm>
              <a:custGeom>
                <a:avLst/>
                <a:gdLst>
                  <a:gd name="connsiteX0" fmla="*/ 22098 w 401733"/>
                  <a:gd name="connsiteY0" fmla="*/ 74320 h 250437"/>
                  <a:gd name="connsiteX1" fmla="*/ 286703 w 401733"/>
                  <a:gd name="connsiteY1" fmla="*/ 7169 h 250437"/>
                  <a:gd name="connsiteX2" fmla="*/ 231267 w 401733"/>
                  <a:gd name="connsiteY2" fmla="*/ 62509 h 250437"/>
                  <a:gd name="connsiteX3" fmla="*/ 401669 w 401733"/>
                  <a:gd name="connsiteY3" fmla="*/ 83940 h 250437"/>
                  <a:gd name="connsiteX4" fmla="*/ 352616 w 401733"/>
                  <a:gd name="connsiteY4" fmla="*/ 115849 h 250437"/>
                  <a:gd name="connsiteX5" fmla="*/ 369951 w 401733"/>
                  <a:gd name="connsiteY5" fmla="*/ 135090 h 250437"/>
                  <a:gd name="connsiteX6" fmla="*/ 335471 w 401733"/>
                  <a:gd name="connsiteY6" fmla="*/ 159759 h 250437"/>
                  <a:gd name="connsiteX7" fmla="*/ 310229 w 401733"/>
                  <a:gd name="connsiteY7" fmla="*/ 194430 h 250437"/>
                  <a:gd name="connsiteX8" fmla="*/ 255270 w 401733"/>
                  <a:gd name="connsiteY8" fmla="*/ 235007 h 250437"/>
                  <a:gd name="connsiteX9" fmla="*/ 0 w 401733"/>
                  <a:gd name="connsiteY9" fmla="*/ 250437 h 2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1733" h="250437">
                    <a:moveTo>
                      <a:pt x="22098" y="74320"/>
                    </a:moveTo>
                    <a:cubicBezTo>
                      <a:pt x="22098" y="74320"/>
                      <a:pt x="259937" y="-27407"/>
                      <a:pt x="286703" y="7169"/>
                    </a:cubicBezTo>
                    <a:cubicBezTo>
                      <a:pt x="313563" y="41745"/>
                      <a:pt x="231267" y="62509"/>
                      <a:pt x="231267" y="62509"/>
                    </a:cubicBezTo>
                    <a:cubicBezTo>
                      <a:pt x="231267" y="62509"/>
                      <a:pt x="405575" y="53175"/>
                      <a:pt x="401669" y="83940"/>
                    </a:cubicBezTo>
                    <a:cubicBezTo>
                      <a:pt x="397859" y="114611"/>
                      <a:pt x="352616" y="115849"/>
                      <a:pt x="352616" y="115849"/>
                    </a:cubicBezTo>
                    <a:cubicBezTo>
                      <a:pt x="352616" y="115849"/>
                      <a:pt x="371951" y="119183"/>
                      <a:pt x="369951" y="135090"/>
                    </a:cubicBezTo>
                    <a:cubicBezTo>
                      <a:pt x="367951" y="150901"/>
                      <a:pt x="335947" y="155759"/>
                      <a:pt x="335471" y="159759"/>
                    </a:cubicBezTo>
                    <a:cubicBezTo>
                      <a:pt x="365665" y="169189"/>
                      <a:pt x="347472" y="199098"/>
                      <a:pt x="310229" y="194430"/>
                    </a:cubicBezTo>
                    <a:cubicBezTo>
                      <a:pt x="339757" y="215862"/>
                      <a:pt x="309563" y="232149"/>
                      <a:pt x="255270" y="235007"/>
                    </a:cubicBezTo>
                    <a:cubicBezTo>
                      <a:pt x="200978" y="237864"/>
                      <a:pt x="0" y="250437"/>
                      <a:pt x="0" y="250437"/>
                    </a:cubicBezTo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0" name="işļîḋé"/>
              <p:cNvSpPr/>
              <p:nvPr/>
            </p:nvSpPr>
            <p:spPr>
              <a:xfrm>
                <a:off x="2113602" y="5072904"/>
                <a:ext cx="375147" cy="265215"/>
              </a:xfrm>
              <a:custGeom>
                <a:avLst/>
                <a:gdLst>
                  <a:gd name="connsiteX0" fmla="*/ 12 w 375147"/>
                  <a:gd name="connsiteY0" fmla="*/ 62614 h 265215"/>
                  <a:gd name="connsiteX1" fmla="*/ 171748 w 375147"/>
                  <a:gd name="connsiteY1" fmla="*/ 67472 h 265215"/>
                  <a:gd name="connsiteX2" fmla="*/ 125456 w 375147"/>
                  <a:gd name="connsiteY2" fmla="*/ 4321 h 265215"/>
                  <a:gd name="connsiteX3" fmla="*/ 325577 w 375147"/>
                  <a:gd name="connsiteY3" fmla="*/ 80617 h 265215"/>
                  <a:gd name="connsiteX4" fmla="*/ 375107 w 375147"/>
                  <a:gd name="connsiteY4" fmla="*/ 169104 h 265215"/>
                  <a:gd name="connsiteX5" fmla="*/ 375107 w 375147"/>
                  <a:gd name="connsiteY5" fmla="*/ 169104 h 265215"/>
                  <a:gd name="connsiteX6" fmla="*/ 255282 w 375147"/>
                  <a:gd name="connsiteY6" fmla="*/ 262925 h 265215"/>
                  <a:gd name="connsiteX7" fmla="*/ 121742 w 375147"/>
                  <a:gd name="connsiteY7" fmla="*/ 234160 h 265215"/>
                  <a:gd name="connsiteX8" fmla="*/ 73545 w 375147"/>
                  <a:gd name="connsiteY8" fmla="*/ 185677 h 265215"/>
                  <a:gd name="connsiteX9" fmla="*/ 53828 w 375147"/>
                  <a:gd name="connsiteY9" fmla="*/ 147577 h 265215"/>
                  <a:gd name="connsiteX10" fmla="*/ 23539 w 375147"/>
                  <a:gd name="connsiteY10" fmla="*/ 117955 h 265215"/>
                  <a:gd name="connsiteX11" fmla="*/ 43541 w 375147"/>
                  <a:gd name="connsiteY11" fmla="*/ 101667 h 265215"/>
                  <a:gd name="connsiteX12" fmla="*/ 12 w 375147"/>
                  <a:gd name="connsiteY12" fmla="*/ 62614 h 26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147" h="265215">
                    <a:moveTo>
                      <a:pt x="12" y="62614"/>
                    </a:moveTo>
                    <a:cubicBezTo>
                      <a:pt x="869" y="31753"/>
                      <a:pt x="171748" y="67472"/>
                      <a:pt x="171748" y="67472"/>
                    </a:cubicBezTo>
                    <a:cubicBezTo>
                      <a:pt x="171748" y="67472"/>
                      <a:pt x="93643" y="34325"/>
                      <a:pt x="125456" y="4321"/>
                    </a:cubicBezTo>
                    <a:cubicBezTo>
                      <a:pt x="147364" y="-16443"/>
                      <a:pt x="258711" y="42326"/>
                      <a:pt x="325577" y="80617"/>
                    </a:cubicBezTo>
                    <a:cubicBezTo>
                      <a:pt x="357200" y="98714"/>
                      <a:pt x="376154" y="132718"/>
                      <a:pt x="375107" y="169104"/>
                    </a:cubicBezTo>
                    <a:lnTo>
                      <a:pt x="375107" y="169104"/>
                    </a:lnTo>
                    <a:cubicBezTo>
                      <a:pt x="373392" y="231016"/>
                      <a:pt x="315861" y="276070"/>
                      <a:pt x="255282" y="262925"/>
                    </a:cubicBezTo>
                    <a:cubicBezTo>
                      <a:pt x="202609" y="251495"/>
                      <a:pt x="146602" y="239303"/>
                      <a:pt x="121742" y="234160"/>
                    </a:cubicBezTo>
                    <a:cubicBezTo>
                      <a:pt x="68497" y="223111"/>
                      <a:pt x="41160" y="202346"/>
                      <a:pt x="73545" y="185677"/>
                    </a:cubicBezTo>
                    <a:cubicBezTo>
                      <a:pt x="36017" y="184630"/>
                      <a:pt x="22586" y="152245"/>
                      <a:pt x="53828" y="147577"/>
                    </a:cubicBezTo>
                    <a:cubicBezTo>
                      <a:pt x="53924" y="143577"/>
                      <a:pt x="23063" y="133957"/>
                      <a:pt x="23539" y="117955"/>
                    </a:cubicBezTo>
                    <a:cubicBezTo>
                      <a:pt x="24015" y="101953"/>
                      <a:pt x="43541" y="101667"/>
                      <a:pt x="43541" y="101667"/>
                    </a:cubicBezTo>
                    <a:cubicBezTo>
                      <a:pt x="43541" y="101667"/>
                      <a:pt x="-845" y="93475"/>
                      <a:pt x="12" y="62614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1" name="îṧļiďe"/>
              <p:cNvSpPr/>
              <p:nvPr/>
            </p:nvSpPr>
            <p:spPr>
              <a:xfrm>
                <a:off x="1317908" y="3400408"/>
                <a:ext cx="544912" cy="350407"/>
              </a:xfrm>
              <a:custGeom>
                <a:avLst/>
                <a:gdLst>
                  <a:gd name="connsiteX0" fmla="*/ 1130 w 544912"/>
                  <a:gd name="connsiteY0" fmla="*/ 350366 h 350407"/>
                  <a:gd name="connsiteX1" fmla="*/ 544912 w 544912"/>
                  <a:gd name="connsiteY1" fmla="*/ 56329 h 350407"/>
                  <a:gd name="connsiteX2" fmla="*/ 1130 w 544912"/>
                  <a:gd name="connsiteY2" fmla="*/ 350366 h 35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4912" h="350407">
                    <a:moveTo>
                      <a:pt x="1130" y="350366"/>
                    </a:moveTo>
                    <a:cubicBezTo>
                      <a:pt x="1130" y="350366"/>
                      <a:pt x="389750" y="360653"/>
                      <a:pt x="544912" y="56329"/>
                    </a:cubicBezTo>
                    <a:cubicBezTo>
                      <a:pt x="205537" y="-116645"/>
                      <a:pt x="-17920" y="145197"/>
                      <a:pt x="1130" y="350366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ïŝļïḑé"/>
              <p:cNvSpPr/>
              <p:nvPr/>
            </p:nvSpPr>
            <p:spPr>
              <a:xfrm>
                <a:off x="1520325" y="4253313"/>
                <a:ext cx="309656" cy="377571"/>
              </a:xfrm>
              <a:custGeom>
                <a:avLst/>
                <a:gdLst>
                  <a:gd name="connsiteX0" fmla="*/ 9978 w 309656"/>
                  <a:gd name="connsiteY0" fmla="*/ 0 h 377571"/>
                  <a:gd name="connsiteX1" fmla="*/ 152853 w 309656"/>
                  <a:gd name="connsiteY1" fmla="*/ 147066 h 377571"/>
                  <a:gd name="connsiteX2" fmla="*/ 299252 w 309656"/>
                  <a:gd name="connsiteY2" fmla="*/ 0 h 377571"/>
                  <a:gd name="connsiteX3" fmla="*/ 152853 w 309656"/>
                  <a:gd name="connsiteY3" fmla="*/ 377571 h 377571"/>
                  <a:gd name="connsiteX4" fmla="*/ 9978 w 309656"/>
                  <a:gd name="connsiteY4" fmla="*/ 0 h 37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56" h="377571">
                    <a:moveTo>
                      <a:pt x="9978" y="0"/>
                    </a:moveTo>
                    <a:cubicBezTo>
                      <a:pt x="9978" y="0"/>
                      <a:pt x="44649" y="147066"/>
                      <a:pt x="152853" y="147066"/>
                    </a:cubicBezTo>
                    <a:cubicBezTo>
                      <a:pt x="261057" y="147066"/>
                      <a:pt x="299252" y="0"/>
                      <a:pt x="299252" y="0"/>
                    </a:cubicBezTo>
                    <a:cubicBezTo>
                      <a:pt x="299252" y="0"/>
                      <a:pt x="367832" y="162592"/>
                      <a:pt x="152853" y="377571"/>
                    </a:cubicBezTo>
                    <a:cubicBezTo>
                      <a:pt x="-56316" y="164687"/>
                      <a:pt x="9978" y="0"/>
                      <a:pt x="9978" y="0"/>
                    </a:cubicBez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îš1ïďé"/>
              <p:cNvSpPr/>
              <p:nvPr/>
            </p:nvSpPr>
            <p:spPr>
              <a:xfrm>
                <a:off x="1182259" y="6004484"/>
                <a:ext cx="234600" cy="234886"/>
              </a:xfrm>
              <a:custGeom>
                <a:avLst/>
                <a:gdLst>
                  <a:gd name="connsiteX0" fmla="*/ 0 w 234600"/>
                  <a:gd name="connsiteY0" fmla="*/ 176022 h 234886"/>
                  <a:gd name="connsiteX1" fmla="*/ 175927 w 234600"/>
                  <a:gd name="connsiteY1" fmla="*/ 0 h 234886"/>
                  <a:gd name="connsiteX2" fmla="*/ 234601 w 234600"/>
                  <a:gd name="connsiteY2" fmla="*/ 58674 h 234886"/>
                  <a:gd name="connsiteX3" fmla="*/ 58388 w 234600"/>
                  <a:gd name="connsiteY3" fmla="*/ 234887 h 23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600" h="234886">
                    <a:moveTo>
                      <a:pt x="0" y="176022"/>
                    </a:moveTo>
                    <a:lnTo>
                      <a:pt x="175927" y="0"/>
                    </a:lnTo>
                    <a:lnTo>
                      <a:pt x="234601" y="58674"/>
                    </a:lnTo>
                    <a:lnTo>
                      <a:pt x="58388" y="234887"/>
                    </a:lnTo>
                    <a:close/>
                  </a:path>
                </a:pathLst>
              </a:custGeom>
              <a:solidFill>
                <a:srgbClr val="37BD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iṣḻîďe"/>
              <p:cNvSpPr/>
              <p:nvPr/>
            </p:nvSpPr>
            <p:spPr>
              <a:xfrm>
                <a:off x="1815482" y="6004484"/>
                <a:ext cx="234600" cy="234886"/>
              </a:xfrm>
              <a:custGeom>
                <a:avLst/>
                <a:gdLst>
                  <a:gd name="connsiteX0" fmla="*/ 234601 w 234600"/>
                  <a:gd name="connsiteY0" fmla="*/ 176022 h 234886"/>
                  <a:gd name="connsiteX1" fmla="*/ 58674 w 234600"/>
                  <a:gd name="connsiteY1" fmla="*/ 0 h 234886"/>
                  <a:gd name="connsiteX2" fmla="*/ 0 w 234600"/>
                  <a:gd name="connsiteY2" fmla="*/ 58674 h 234886"/>
                  <a:gd name="connsiteX3" fmla="*/ 176213 w 234600"/>
                  <a:gd name="connsiteY3" fmla="*/ 234887 h 23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600" h="234886">
                    <a:moveTo>
                      <a:pt x="234601" y="176022"/>
                    </a:moveTo>
                    <a:lnTo>
                      <a:pt x="58674" y="0"/>
                    </a:lnTo>
                    <a:lnTo>
                      <a:pt x="0" y="58674"/>
                    </a:lnTo>
                    <a:lnTo>
                      <a:pt x="176213" y="234887"/>
                    </a:lnTo>
                    <a:close/>
                  </a:path>
                </a:pathLst>
              </a:custGeom>
              <a:solidFill>
                <a:srgbClr val="37BD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îš1íďé"/>
              <p:cNvSpPr/>
              <p:nvPr/>
            </p:nvSpPr>
            <p:spPr>
              <a:xfrm>
                <a:off x="1182260" y="6004484"/>
                <a:ext cx="175926" cy="176022"/>
              </a:xfrm>
              <a:custGeom>
                <a:avLst/>
                <a:gdLst>
                  <a:gd name="connsiteX0" fmla="*/ 0 w 175926"/>
                  <a:gd name="connsiteY0" fmla="*/ 176022 h 176022"/>
                  <a:gd name="connsiteX1" fmla="*/ 175927 w 175926"/>
                  <a:gd name="connsiteY1" fmla="*/ 0 h 17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926" h="176022">
                    <a:moveTo>
                      <a:pt x="0" y="176022"/>
                    </a:moveTo>
                    <a:lnTo>
                      <a:pt x="175927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îṧḻiḋê"/>
              <p:cNvSpPr/>
              <p:nvPr/>
            </p:nvSpPr>
            <p:spPr>
              <a:xfrm>
                <a:off x="1874156" y="6004484"/>
                <a:ext cx="175926" cy="176022"/>
              </a:xfrm>
              <a:custGeom>
                <a:avLst/>
                <a:gdLst>
                  <a:gd name="connsiteX0" fmla="*/ 0 w 175926"/>
                  <a:gd name="connsiteY0" fmla="*/ 0 h 176022"/>
                  <a:gd name="connsiteX1" fmla="*/ 175927 w 175926"/>
                  <a:gd name="connsiteY1" fmla="*/ 176022 h 17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926" h="176022">
                    <a:moveTo>
                      <a:pt x="0" y="0"/>
                    </a:moveTo>
                    <a:lnTo>
                      <a:pt x="175927" y="176022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7" name="图形 278"/>
              <p:cNvGrpSpPr/>
              <p:nvPr/>
            </p:nvGrpSpPr>
            <p:grpSpPr>
              <a:xfrm>
                <a:off x="1425338" y="3702386"/>
                <a:ext cx="504634" cy="136398"/>
                <a:chOff x="1425338" y="3702386"/>
                <a:chExt cx="504634" cy="136398"/>
              </a:xfrm>
              <a:noFill/>
            </p:grpSpPr>
            <p:sp>
              <p:nvSpPr>
                <p:cNvPr id="81" name="îšľídê"/>
                <p:cNvSpPr/>
                <p:nvPr/>
              </p:nvSpPr>
              <p:spPr>
                <a:xfrm>
                  <a:off x="1481630" y="3702386"/>
                  <a:ext cx="213931" cy="136398"/>
                </a:xfrm>
                <a:custGeom>
                  <a:avLst/>
                  <a:gdLst>
                    <a:gd name="connsiteX0" fmla="*/ 68199 w 213931"/>
                    <a:gd name="connsiteY0" fmla="*/ 136398 h 136398"/>
                    <a:gd name="connsiteX1" fmla="*/ 145733 w 213931"/>
                    <a:gd name="connsiteY1" fmla="*/ 136398 h 136398"/>
                    <a:gd name="connsiteX2" fmla="*/ 213931 w 213931"/>
                    <a:gd name="connsiteY2" fmla="*/ 68199 h 136398"/>
                    <a:gd name="connsiteX3" fmla="*/ 213931 w 213931"/>
                    <a:gd name="connsiteY3" fmla="*/ 68199 h 136398"/>
                    <a:gd name="connsiteX4" fmla="*/ 145733 w 213931"/>
                    <a:gd name="connsiteY4" fmla="*/ 0 h 136398"/>
                    <a:gd name="connsiteX5" fmla="*/ 68199 w 213931"/>
                    <a:gd name="connsiteY5" fmla="*/ 0 h 136398"/>
                    <a:gd name="connsiteX6" fmla="*/ 0 w 213931"/>
                    <a:gd name="connsiteY6" fmla="*/ 68199 h 136398"/>
                    <a:gd name="connsiteX7" fmla="*/ 0 w 213931"/>
                    <a:gd name="connsiteY7" fmla="*/ 68199 h 136398"/>
                    <a:gd name="connsiteX8" fmla="*/ 68199 w 213931"/>
                    <a:gd name="connsiteY8" fmla="*/ 136398 h 136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3931" h="136398">
                      <a:moveTo>
                        <a:pt x="68199" y="136398"/>
                      </a:moveTo>
                      <a:lnTo>
                        <a:pt x="145733" y="136398"/>
                      </a:lnTo>
                      <a:cubicBezTo>
                        <a:pt x="183261" y="136398"/>
                        <a:pt x="213931" y="105728"/>
                        <a:pt x="213931" y="68199"/>
                      </a:cubicBezTo>
                      <a:lnTo>
                        <a:pt x="213931" y="68199"/>
                      </a:lnTo>
                      <a:cubicBezTo>
                        <a:pt x="213931" y="30671"/>
                        <a:pt x="183261" y="0"/>
                        <a:pt x="145733" y="0"/>
                      </a:cubicBezTo>
                      <a:lnTo>
                        <a:pt x="68199" y="0"/>
                      </a:lnTo>
                      <a:cubicBezTo>
                        <a:pt x="30671" y="0"/>
                        <a:pt x="0" y="30671"/>
                        <a:pt x="0" y="68199"/>
                      </a:cubicBezTo>
                      <a:lnTo>
                        <a:pt x="0" y="68199"/>
                      </a:lnTo>
                      <a:cubicBezTo>
                        <a:pt x="0" y="105728"/>
                        <a:pt x="30671" y="136398"/>
                        <a:pt x="68199" y="136398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îŝlïdè"/>
                <p:cNvSpPr/>
                <p:nvPr/>
              </p:nvSpPr>
              <p:spPr>
                <a:xfrm>
                  <a:off x="1716040" y="3702386"/>
                  <a:ext cx="213931" cy="136398"/>
                </a:xfrm>
                <a:custGeom>
                  <a:avLst/>
                  <a:gdLst>
                    <a:gd name="connsiteX0" fmla="*/ 68199 w 213931"/>
                    <a:gd name="connsiteY0" fmla="*/ 136398 h 136398"/>
                    <a:gd name="connsiteX1" fmla="*/ 145733 w 213931"/>
                    <a:gd name="connsiteY1" fmla="*/ 136398 h 136398"/>
                    <a:gd name="connsiteX2" fmla="*/ 213932 w 213931"/>
                    <a:gd name="connsiteY2" fmla="*/ 68199 h 136398"/>
                    <a:gd name="connsiteX3" fmla="*/ 213932 w 213931"/>
                    <a:gd name="connsiteY3" fmla="*/ 68199 h 136398"/>
                    <a:gd name="connsiteX4" fmla="*/ 145733 w 213931"/>
                    <a:gd name="connsiteY4" fmla="*/ 0 h 136398"/>
                    <a:gd name="connsiteX5" fmla="*/ 68199 w 213931"/>
                    <a:gd name="connsiteY5" fmla="*/ 0 h 136398"/>
                    <a:gd name="connsiteX6" fmla="*/ 0 w 213931"/>
                    <a:gd name="connsiteY6" fmla="*/ 68199 h 136398"/>
                    <a:gd name="connsiteX7" fmla="*/ 0 w 213931"/>
                    <a:gd name="connsiteY7" fmla="*/ 68199 h 136398"/>
                    <a:gd name="connsiteX8" fmla="*/ 68199 w 213931"/>
                    <a:gd name="connsiteY8" fmla="*/ 136398 h 136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3931" h="136398">
                      <a:moveTo>
                        <a:pt x="68199" y="136398"/>
                      </a:moveTo>
                      <a:lnTo>
                        <a:pt x="145733" y="136398"/>
                      </a:lnTo>
                      <a:cubicBezTo>
                        <a:pt x="183261" y="136398"/>
                        <a:pt x="213932" y="105728"/>
                        <a:pt x="213932" y="68199"/>
                      </a:cubicBezTo>
                      <a:lnTo>
                        <a:pt x="213932" y="68199"/>
                      </a:lnTo>
                      <a:cubicBezTo>
                        <a:pt x="213932" y="30671"/>
                        <a:pt x="183261" y="0"/>
                        <a:pt x="145733" y="0"/>
                      </a:cubicBezTo>
                      <a:lnTo>
                        <a:pt x="68199" y="0"/>
                      </a:lnTo>
                      <a:cubicBezTo>
                        <a:pt x="30671" y="0"/>
                        <a:pt x="0" y="30671"/>
                        <a:pt x="0" y="68199"/>
                      </a:cubicBezTo>
                      <a:lnTo>
                        <a:pt x="0" y="68199"/>
                      </a:lnTo>
                      <a:cubicBezTo>
                        <a:pt x="0" y="105728"/>
                        <a:pt x="30671" y="136398"/>
                        <a:pt x="68199" y="136398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3" name="ï$1iḍé"/>
                <p:cNvSpPr/>
                <p:nvPr/>
              </p:nvSpPr>
              <p:spPr>
                <a:xfrm>
                  <a:off x="1695562" y="3770586"/>
                  <a:ext cx="20478" cy="9525"/>
                </a:xfrm>
                <a:custGeom>
                  <a:avLst/>
                  <a:gdLst>
                    <a:gd name="connsiteX0" fmla="*/ 0 w 20478"/>
                    <a:gd name="connsiteY0" fmla="*/ 0 h 9525"/>
                    <a:gd name="connsiteX1" fmla="*/ 20479 w 2047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78" h="9525">
                      <a:moveTo>
                        <a:pt x="0" y="0"/>
                      </a:moveTo>
                      <a:lnTo>
                        <a:pt x="20479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îşḻîḍe"/>
                <p:cNvSpPr/>
                <p:nvPr/>
              </p:nvSpPr>
              <p:spPr>
                <a:xfrm>
                  <a:off x="1425338" y="3741820"/>
                  <a:ext cx="61817" cy="2000"/>
                </a:xfrm>
                <a:custGeom>
                  <a:avLst/>
                  <a:gdLst>
                    <a:gd name="connsiteX0" fmla="*/ 0 w 61817"/>
                    <a:gd name="connsiteY0" fmla="*/ 0 h 2000"/>
                    <a:gd name="connsiteX1" fmla="*/ 61817 w 61817"/>
                    <a:gd name="connsiteY1" fmla="*/ 2000 h 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817" h="2000">
                      <a:moveTo>
                        <a:pt x="0" y="0"/>
                      </a:moveTo>
                      <a:lnTo>
                        <a:pt x="61817" y="200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8" name="图形 278"/>
              <p:cNvGrpSpPr/>
              <p:nvPr/>
            </p:nvGrpSpPr>
            <p:grpSpPr>
              <a:xfrm>
                <a:off x="1355329" y="3282858"/>
                <a:ext cx="644366" cy="334089"/>
                <a:chOff x="1355329" y="3282858"/>
                <a:chExt cx="644366" cy="334089"/>
              </a:xfrm>
              <a:solidFill>
                <a:schemeClr val="accent1"/>
              </a:solidFill>
            </p:grpSpPr>
            <p:sp>
              <p:nvSpPr>
                <p:cNvPr id="79" name="ïṣḷiḍê"/>
                <p:cNvSpPr/>
                <p:nvPr/>
              </p:nvSpPr>
              <p:spPr>
                <a:xfrm>
                  <a:off x="1355329" y="3282858"/>
                  <a:ext cx="644366" cy="334089"/>
                </a:xfrm>
                <a:custGeom>
                  <a:avLst/>
                  <a:gdLst>
                    <a:gd name="connsiteX0" fmla="*/ 542354 w 644366"/>
                    <a:gd name="connsiteY0" fmla="*/ 334089 h 334089"/>
                    <a:gd name="connsiteX1" fmla="*/ 102013 w 644366"/>
                    <a:gd name="connsiteY1" fmla="*/ 334089 h 334089"/>
                    <a:gd name="connsiteX2" fmla="*/ 0 w 644366"/>
                    <a:gd name="connsiteY2" fmla="*/ 51006 h 334089"/>
                    <a:gd name="connsiteX3" fmla="*/ 644366 w 644366"/>
                    <a:gd name="connsiteY3" fmla="*/ 51006 h 334089"/>
                    <a:gd name="connsiteX4" fmla="*/ 542354 w 644366"/>
                    <a:gd name="connsiteY4" fmla="*/ 334089 h 33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4366" h="334089">
                      <a:moveTo>
                        <a:pt x="542354" y="334089"/>
                      </a:moveTo>
                      <a:cubicBezTo>
                        <a:pt x="399002" y="289512"/>
                        <a:pt x="245459" y="289512"/>
                        <a:pt x="102013" y="334089"/>
                      </a:cubicBezTo>
                      <a:cubicBezTo>
                        <a:pt x="69247" y="239316"/>
                        <a:pt x="35243" y="144923"/>
                        <a:pt x="0" y="51006"/>
                      </a:cubicBezTo>
                      <a:cubicBezTo>
                        <a:pt x="209455" y="-17002"/>
                        <a:pt x="435007" y="-17002"/>
                        <a:pt x="644366" y="51006"/>
                      </a:cubicBezTo>
                      <a:cubicBezTo>
                        <a:pt x="609219" y="144923"/>
                        <a:pt x="575120" y="239316"/>
                        <a:pt x="542354" y="334089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0" name="ïṥļide"/>
                <p:cNvSpPr/>
                <p:nvPr/>
              </p:nvSpPr>
              <p:spPr>
                <a:xfrm>
                  <a:off x="1584595" y="3343675"/>
                  <a:ext cx="185928" cy="185832"/>
                </a:xfrm>
                <a:custGeom>
                  <a:avLst/>
                  <a:gdLst>
                    <a:gd name="connsiteX0" fmla="*/ 185928 w 185928"/>
                    <a:gd name="connsiteY0" fmla="*/ 57150 h 185832"/>
                    <a:gd name="connsiteX1" fmla="*/ 128683 w 185928"/>
                    <a:gd name="connsiteY1" fmla="*/ 57150 h 185832"/>
                    <a:gd name="connsiteX2" fmla="*/ 128683 w 185928"/>
                    <a:gd name="connsiteY2" fmla="*/ 0 h 185832"/>
                    <a:gd name="connsiteX3" fmla="*/ 57245 w 185928"/>
                    <a:gd name="connsiteY3" fmla="*/ 0 h 185832"/>
                    <a:gd name="connsiteX4" fmla="*/ 57245 w 185928"/>
                    <a:gd name="connsiteY4" fmla="*/ 57150 h 185832"/>
                    <a:gd name="connsiteX5" fmla="*/ 0 w 185928"/>
                    <a:gd name="connsiteY5" fmla="*/ 57150 h 185832"/>
                    <a:gd name="connsiteX6" fmla="*/ 0 w 185928"/>
                    <a:gd name="connsiteY6" fmla="*/ 128683 h 185832"/>
                    <a:gd name="connsiteX7" fmla="*/ 57245 w 185928"/>
                    <a:gd name="connsiteY7" fmla="*/ 128683 h 185832"/>
                    <a:gd name="connsiteX8" fmla="*/ 57245 w 185928"/>
                    <a:gd name="connsiteY8" fmla="*/ 185833 h 185832"/>
                    <a:gd name="connsiteX9" fmla="*/ 128683 w 185928"/>
                    <a:gd name="connsiteY9" fmla="*/ 185833 h 185832"/>
                    <a:gd name="connsiteX10" fmla="*/ 128683 w 185928"/>
                    <a:gd name="connsiteY10" fmla="*/ 128683 h 185832"/>
                    <a:gd name="connsiteX11" fmla="*/ 185928 w 185928"/>
                    <a:gd name="connsiteY11" fmla="*/ 128683 h 185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85928" h="185832">
                      <a:moveTo>
                        <a:pt x="185928" y="57150"/>
                      </a:moveTo>
                      <a:lnTo>
                        <a:pt x="128683" y="57150"/>
                      </a:lnTo>
                      <a:lnTo>
                        <a:pt x="128683" y="0"/>
                      </a:lnTo>
                      <a:lnTo>
                        <a:pt x="57245" y="0"/>
                      </a:lnTo>
                      <a:lnTo>
                        <a:pt x="57245" y="57150"/>
                      </a:lnTo>
                      <a:lnTo>
                        <a:pt x="0" y="57150"/>
                      </a:lnTo>
                      <a:lnTo>
                        <a:pt x="0" y="128683"/>
                      </a:lnTo>
                      <a:lnTo>
                        <a:pt x="57245" y="128683"/>
                      </a:lnTo>
                      <a:lnTo>
                        <a:pt x="57245" y="185833"/>
                      </a:lnTo>
                      <a:lnTo>
                        <a:pt x="128683" y="185833"/>
                      </a:lnTo>
                      <a:lnTo>
                        <a:pt x="128683" y="128683"/>
                      </a:lnTo>
                      <a:lnTo>
                        <a:pt x="185928" y="128683"/>
                      </a:lnTo>
                      <a:close/>
                    </a:path>
                  </a:pathLst>
                </a:custGeom>
                <a:solidFill>
                  <a:srgbClr val="56C7A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9" name="图形 278"/>
            <p:cNvGrpSpPr/>
            <p:nvPr userDrawn="1"/>
          </p:nvGrpSpPr>
          <p:grpSpPr>
            <a:xfrm>
              <a:off x="6905747" y="462258"/>
              <a:ext cx="2255652" cy="5675017"/>
              <a:chOff x="5969009" y="3056205"/>
              <a:chExt cx="1624156" cy="4086230"/>
            </a:xfrm>
            <a:solidFill>
              <a:schemeClr val="accent1"/>
            </a:solidFill>
          </p:grpSpPr>
          <p:sp>
            <p:nvSpPr>
              <p:cNvPr id="10" name="išľïde"/>
              <p:cNvSpPr/>
              <p:nvPr/>
            </p:nvSpPr>
            <p:spPr>
              <a:xfrm>
                <a:off x="6149357" y="5977623"/>
                <a:ext cx="1244250" cy="1164621"/>
              </a:xfrm>
              <a:custGeom>
                <a:avLst/>
                <a:gdLst>
                  <a:gd name="connsiteX0" fmla="*/ 0 w 1244250"/>
                  <a:gd name="connsiteY0" fmla="*/ 1164622 h 1164621"/>
                  <a:gd name="connsiteX1" fmla="*/ 1244251 w 1244250"/>
                  <a:gd name="connsiteY1" fmla="*/ 1158716 h 1164621"/>
                  <a:gd name="connsiteX2" fmla="*/ 1238822 w 1244250"/>
                  <a:gd name="connsiteY2" fmla="*/ 0 h 1164621"/>
                  <a:gd name="connsiteX3" fmla="*/ 135921 w 1244250"/>
                  <a:gd name="connsiteY3" fmla="*/ 5239 h 1164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250" h="1164621">
                    <a:moveTo>
                      <a:pt x="0" y="1164622"/>
                    </a:moveTo>
                    <a:lnTo>
                      <a:pt x="1244251" y="1158716"/>
                    </a:lnTo>
                    <a:lnTo>
                      <a:pt x="1238822" y="0"/>
                    </a:lnTo>
                    <a:lnTo>
                      <a:pt x="135921" y="5239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" name="ïŝḻïḍê"/>
              <p:cNvSpPr/>
              <p:nvPr/>
            </p:nvSpPr>
            <p:spPr>
              <a:xfrm>
                <a:off x="6295374" y="3889545"/>
                <a:ext cx="961632" cy="1880528"/>
              </a:xfrm>
              <a:custGeom>
                <a:avLst/>
                <a:gdLst>
                  <a:gd name="connsiteX0" fmla="*/ 957263 w 961632"/>
                  <a:gd name="connsiteY0" fmla="*/ 1876052 h 1880528"/>
                  <a:gd name="connsiteX1" fmla="*/ 935355 w 961632"/>
                  <a:gd name="connsiteY1" fmla="*/ 883737 h 1880528"/>
                  <a:gd name="connsiteX2" fmla="*/ 510159 w 961632"/>
                  <a:gd name="connsiteY2" fmla="*/ 7 h 1880528"/>
                  <a:gd name="connsiteX3" fmla="*/ 39338 w 961632"/>
                  <a:gd name="connsiteY3" fmla="*/ 532550 h 1880528"/>
                  <a:gd name="connsiteX4" fmla="*/ 0 w 961632"/>
                  <a:gd name="connsiteY4" fmla="*/ 1880528 h 1880528"/>
                  <a:gd name="connsiteX5" fmla="*/ 957263 w 961632"/>
                  <a:gd name="connsiteY5" fmla="*/ 1876052 h 1880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1632" h="1880528">
                    <a:moveTo>
                      <a:pt x="957263" y="1876052"/>
                    </a:moveTo>
                    <a:lnTo>
                      <a:pt x="935355" y="883737"/>
                    </a:lnTo>
                    <a:cubicBezTo>
                      <a:pt x="935355" y="883737"/>
                      <a:pt x="1120045" y="-2945"/>
                      <a:pt x="510159" y="7"/>
                    </a:cubicBezTo>
                    <a:cubicBezTo>
                      <a:pt x="204311" y="1436"/>
                      <a:pt x="24384" y="151836"/>
                      <a:pt x="39338" y="532550"/>
                    </a:cubicBezTo>
                    <a:cubicBezTo>
                      <a:pt x="56102" y="960127"/>
                      <a:pt x="0" y="1880528"/>
                      <a:pt x="0" y="1880528"/>
                    </a:cubicBezTo>
                    <a:lnTo>
                      <a:pt x="957263" y="1876052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2" name="íṡliḑè"/>
              <p:cNvSpPr/>
              <p:nvPr/>
            </p:nvSpPr>
            <p:spPr>
              <a:xfrm>
                <a:off x="5969009" y="3917842"/>
                <a:ext cx="610211" cy="2025205"/>
              </a:xfrm>
              <a:custGeom>
                <a:avLst/>
                <a:gdLst>
                  <a:gd name="connsiteX0" fmla="*/ 607353 w 610211"/>
                  <a:gd name="connsiteY0" fmla="*/ 0 h 2025205"/>
                  <a:gd name="connsiteX1" fmla="*/ 40 w 610211"/>
                  <a:gd name="connsiteY1" fmla="*/ 1294733 h 2025205"/>
                  <a:gd name="connsiteX2" fmla="*/ 371038 w 610211"/>
                  <a:gd name="connsiteY2" fmla="*/ 2025205 h 2025205"/>
                  <a:gd name="connsiteX3" fmla="*/ 515056 w 610211"/>
                  <a:gd name="connsiteY3" fmla="*/ 1879854 h 2025205"/>
                  <a:gd name="connsiteX4" fmla="*/ 610211 w 610211"/>
                  <a:gd name="connsiteY4" fmla="*/ 596456 h 2025205"/>
                  <a:gd name="connsiteX5" fmla="*/ 607353 w 610211"/>
                  <a:gd name="connsiteY5" fmla="*/ 0 h 2025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0211" h="2025205">
                    <a:moveTo>
                      <a:pt x="607353" y="0"/>
                    </a:moveTo>
                    <a:cubicBezTo>
                      <a:pt x="607353" y="0"/>
                      <a:pt x="-5676" y="83248"/>
                      <a:pt x="40" y="1294733"/>
                    </a:cubicBezTo>
                    <a:cubicBezTo>
                      <a:pt x="2230" y="1754886"/>
                      <a:pt x="371038" y="2025205"/>
                      <a:pt x="371038" y="2025205"/>
                    </a:cubicBezTo>
                    <a:lnTo>
                      <a:pt x="515056" y="1879854"/>
                    </a:lnTo>
                    <a:cubicBezTo>
                      <a:pt x="515056" y="1879854"/>
                      <a:pt x="-74446" y="1287590"/>
                      <a:pt x="610211" y="596456"/>
                    </a:cubicBezTo>
                    <a:lnTo>
                      <a:pt x="607353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3" name="i$ľíḍè"/>
              <p:cNvSpPr/>
              <p:nvPr/>
            </p:nvSpPr>
            <p:spPr>
              <a:xfrm>
                <a:off x="6973650" y="3916032"/>
                <a:ext cx="619515" cy="2022919"/>
              </a:xfrm>
              <a:custGeom>
                <a:avLst/>
                <a:gdLst>
                  <a:gd name="connsiteX0" fmla="*/ 0 w 619515"/>
                  <a:gd name="connsiteY0" fmla="*/ 0 h 2022919"/>
                  <a:gd name="connsiteX1" fmla="*/ 619506 w 619515"/>
                  <a:gd name="connsiteY1" fmla="*/ 1288923 h 2022919"/>
                  <a:gd name="connsiteX2" fmla="*/ 255461 w 619515"/>
                  <a:gd name="connsiteY2" fmla="*/ 2022920 h 2022919"/>
                  <a:gd name="connsiteX3" fmla="*/ 110109 w 619515"/>
                  <a:gd name="connsiteY3" fmla="*/ 1878902 h 2022919"/>
                  <a:gd name="connsiteX4" fmla="*/ 2857 w 619515"/>
                  <a:gd name="connsiteY4" fmla="*/ 596456 h 2022919"/>
                  <a:gd name="connsiteX5" fmla="*/ 0 w 619515"/>
                  <a:gd name="connsiteY5" fmla="*/ 0 h 2022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9515" h="2022919">
                    <a:moveTo>
                      <a:pt x="0" y="0"/>
                    </a:moveTo>
                    <a:cubicBezTo>
                      <a:pt x="0" y="0"/>
                      <a:pt x="613791" y="77438"/>
                      <a:pt x="619506" y="1288923"/>
                    </a:cubicBezTo>
                    <a:cubicBezTo>
                      <a:pt x="621697" y="1749076"/>
                      <a:pt x="255461" y="2022920"/>
                      <a:pt x="255461" y="2022920"/>
                    </a:cubicBezTo>
                    <a:lnTo>
                      <a:pt x="110109" y="1878902"/>
                    </a:lnTo>
                    <a:cubicBezTo>
                      <a:pt x="110109" y="1878902"/>
                      <a:pt x="693896" y="1281017"/>
                      <a:pt x="2857" y="5964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4" name="图形 278"/>
              <p:cNvGrpSpPr/>
              <p:nvPr/>
            </p:nvGrpSpPr>
            <p:grpSpPr>
              <a:xfrm>
                <a:off x="6560928" y="3892696"/>
                <a:ext cx="444443" cy="868046"/>
                <a:chOff x="6560928" y="3892696"/>
                <a:chExt cx="444443" cy="868046"/>
              </a:xfrm>
              <a:solidFill>
                <a:schemeClr val="accent1"/>
              </a:solidFill>
            </p:grpSpPr>
            <p:sp>
              <p:nvSpPr>
                <p:cNvPr id="52" name="iṥlídé"/>
                <p:cNvSpPr/>
                <p:nvPr/>
              </p:nvSpPr>
              <p:spPr>
                <a:xfrm>
                  <a:off x="6560928" y="3892696"/>
                  <a:ext cx="444443" cy="699135"/>
                </a:xfrm>
                <a:custGeom>
                  <a:avLst/>
                  <a:gdLst>
                    <a:gd name="connsiteX0" fmla="*/ 220031 w 444443"/>
                    <a:gd name="connsiteY0" fmla="*/ 0 h 699135"/>
                    <a:gd name="connsiteX1" fmla="*/ 220031 w 444443"/>
                    <a:gd name="connsiteY1" fmla="*/ 0 h 699135"/>
                    <a:gd name="connsiteX2" fmla="*/ 3 w 444443"/>
                    <a:gd name="connsiteY2" fmla="*/ 202597 h 699135"/>
                    <a:gd name="connsiteX3" fmla="*/ 225746 w 444443"/>
                    <a:gd name="connsiteY3" fmla="*/ 699135 h 699135"/>
                    <a:gd name="connsiteX4" fmla="*/ 444440 w 444443"/>
                    <a:gd name="connsiteY4" fmla="*/ 200501 h 699135"/>
                    <a:gd name="connsiteX5" fmla="*/ 220031 w 444443"/>
                    <a:gd name="connsiteY5" fmla="*/ 0 h 699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443" h="699135">
                      <a:moveTo>
                        <a:pt x="220031" y="0"/>
                      </a:moveTo>
                      <a:lnTo>
                        <a:pt x="220031" y="0"/>
                      </a:lnTo>
                      <a:cubicBezTo>
                        <a:pt x="196790" y="1143"/>
                        <a:pt x="-949" y="15431"/>
                        <a:pt x="3" y="202597"/>
                      </a:cubicBezTo>
                      <a:cubicBezTo>
                        <a:pt x="861" y="389477"/>
                        <a:pt x="201934" y="671894"/>
                        <a:pt x="225746" y="699135"/>
                      </a:cubicBezTo>
                      <a:cubicBezTo>
                        <a:pt x="249273" y="671703"/>
                        <a:pt x="445297" y="387477"/>
                        <a:pt x="444440" y="200501"/>
                      </a:cubicBezTo>
                      <a:cubicBezTo>
                        <a:pt x="443487" y="13335"/>
                        <a:pt x="243368" y="857"/>
                        <a:pt x="220031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ïş1iďé"/>
                <p:cNvSpPr/>
                <p:nvPr/>
              </p:nvSpPr>
              <p:spPr>
                <a:xfrm rot="-16317">
                  <a:off x="6662347" y="4612137"/>
                  <a:ext cx="247367" cy="148020"/>
                </a:xfrm>
                <a:custGeom>
                  <a:avLst/>
                  <a:gdLst>
                    <a:gd name="connsiteX0" fmla="*/ 0 w 247367"/>
                    <a:gd name="connsiteY0" fmla="*/ 0 h 148020"/>
                    <a:gd name="connsiteX1" fmla="*/ 247367 w 247367"/>
                    <a:gd name="connsiteY1" fmla="*/ 0 h 148020"/>
                    <a:gd name="connsiteX2" fmla="*/ 247367 w 247367"/>
                    <a:gd name="connsiteY2" fmla="*/ 148020 h 148020"/>
                    <a:gd name="connsiteX3" fmla="*/ 0 w 247367"/>
                    <a:gd name="connsiteY3" fmla="*/ 148020 h 14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7" h="148020">
                      <a:moveTo>
                        <a:pt x="0" y="0"/>
                      </a:moveTo>
                      <a:lnTo>
                        <a:pt x="247367" y="0"/>
                      </a:lnTo>
                      <a:lnTo>
                        <a:pt x="247367" y="148020"/>
                      </a:lnTo>
                      <a:lnTo>
                        <a:pt x="0" y="1480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4" name="iŝḻïḓé"/>
                <p:cNvSpPr/>
                <p:nvPr/>
              </p:nvSpPr>
              <p:spPr>
                <a:xfrm>
                  <a:off x="6786674" y="4591831"/>
                  <a:ext cx="190" cy="40481"/>
                </a:xfrm>
                <a:custGeom>
                  <a:avLst/>
                  <a:gdLst>
                    <a:gd name="connsiteX0" fmla="*/ 0 w 190"/>
                    <a:gd name="connsiteY0" fmla="*/ 0 h 40481"/>
                    <a:gd name="connsiteX1" fmla="*/ 191 w 190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0" h="40481">
                      <a:moveTo>
                        <a:pt x="0" y="0"/>
                      </a:moveTo>
                      <a:lnTo>
                        <a:pt x="191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isliḑe"/>
                <p:cNvSpPr/>
                <p:nvPr/>
              </p:nvSpPr>
              <p:spPr>
                <a:xfrm rot="-16317">
                  <a:off x="6689780" y="4651570"/>
                  <a:ext cx="56198" cy="56198"/>
                </a:xfrm>
                <a:custGeom>
                  <a:avLst/>
                  <a:gdLst>
                    <a:gd name="connsiteX0" fmla="*/ 0 w 56198"/>
                    <a:gd name="connsiteY0" fmla="*/ 0 h 56198"/>
                    <a:gd name="connsiteX1" fmla="*/ 56198 w 56198"/>
                    <a:gd name="connsiteY1" fmla="*/ 0 h 56198"/>
                    <a:gd name="connsiteX2" fmla="*/ 56198 w 56198"/>
                    <a:gd name="connsiteY2" fmla="*/ 56198 h 56198"/>
                    <a:gd name="connsiteX3" fmla="*/ 0 w 56198"/>
                    <a:gd name="connsiteY3" fmla="*/ 56198 h 56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8" h="56198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56198"/>
                      </a:lnTo>
                      <a:lnTo>
                        <a:pt x="0" y="56198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íṣḻiďê"/>
                <p:cNvSpPr/>
                <p:nvPr/>
              </p:nvSpPr>
              <p:spPr>
                <a:xfrm rot="-16317">
                  <a:off x="6774362" y="4650999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îṧļïḓè"/>
                <p:cNvSpPr/>
                <p:nvPr/>
              </p:nvSpPr>
              <p:spPr>
                <a:xfrm rot="-16317">
                  <a:off x="6774458" y="4674527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ïśḷídè"/>
                <p:cNvSpPr/>
                <p:nvPr/>
              </p:nvSpPr>
              <p:spPr>
                <a:xfrm rot="-16317">
                  <a:off x="6774553" y="4698053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îṡľïdê"/>
                <p:cNvSpPr/>
                <p:nvPr/>
              </p:nvSpPr>
              <p:spPr>
                <a:xfrm rot="-16317">
                  <a:off x="6774743" y="4721485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6 w 116396"/>
                    <a:gd name="connsiteY1" fmla="*/ 0 h 9144"/>
                    <a:gd name="connsiteX2" fmla="*/ 116396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6" y="0"/>
                      </a:lnTo>
                      <a:lnTo>
                        <a:pt x="116396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íśļïdè"/>
                <p:cNvSpPr/>
                <p:nvPr/>
              </p:nvSpPr>
              <p:spPr>
                <a:xfrm rot="-16317">
                  <a:off x="6689969" y="4722056"/>
                  <a:ext cx="56198" cy="9144"/>
                </a:xfrm>
                <a:custGeom>
                  <a:avLst/>
                  <a:gdLst>
                    <a:gd name="connsiteX0" fmla="*/ 0 w 56198"/>
                    <a:gd name="connsiteY0" fmla="*/ 0 h 9144"/>
                    <a:gd name="connsiteX1" fmla="*/ 56199 w 56198"/>
                    <a:gd name="connsiteY1" fmla="*/ 0 h 9144"/>
                    <a:gd name="connsiteX2" fmla="*/ 56199 w 56198"/>
                    <a:gd name="connsiteY2" fmla="*/ 9144 h 9144"/>
                    <a:gd name="connsiteX3" fmla="*/ 0 w 56198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8" h="9144">
                      <a:moveTo>
                        <a:pt x="0" y="0"/>
                      </a:moveTo>
                      <a:lnTo>
                        <a:pt x="56199" y="0"/>
                      </a:lnTo>
                      <a:lnTo>
                        <a:pt x="56199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5" name="i$ḻiďè"/>
              <p:cNvSpPr/>
              <p:nvPr/>
            </p:nvSpPr>
            <p:spPr>
              <a:xfrm>
                <a:off x="6105446" y="3912603"/>
                <a:ext cx="512350" cy="3229832"/>
              </a:xfrm>
              <a:custGeom>
                <a:avLst/>
                <a:gdLst>
                  <a:gd name="connsiteX0" fmla="*/ 497110 w 512350"/>
                  <a:gd name="connsiteY0" fmla="*/ 0 h 3229832"/>
                  <a:gd name="connsiteX1" fmla="*/ 512350 w 512350"/>
                  <a:gd name="connsiteY1" fmla="*/ 3227451 h 3229832"/>
                  <a:gd name="connsiteX2" fmla="*/ 0 w 512350"/>
                  <a:gd name="connsiteY2" fmla="*/ 3229832 h 3229832"/>
                  <a:gd name="connsiteX3" fmla="*/ 242602 w 512350"/>
                  <a:gd name="connsiteY3" fmla="*/ 352996 h 3229832"/>
                  <a:gd name="connsiteX4" fmla="*/ 470916 w 512350"/>
                  <a:gd name="connsiteY4" fmla="*/ 5239 h 322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350" h="3229832">
                    <a:moveTo>
                      <a:pt x="497110" y="0"/>
                    </a:moveTo>
                    <a:lnTo>
                      <a:pt x="512350" y="3227451"/>
                    </a:lnTo>
                    <a:lnTo>
                      <a:pt x="0" y="3229832"/>
                    </a:lnTo>
                    <a:lnTo>
                      <a:pt x="242602" y="352996"/>
                    </a:lnTo>
                    <a:lnTo>
                      <a:pt x="470916" y="5239"/>
                    </a:lnTo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îṥḻiḍe"/>
              <p:cNvSpPr/>
              <p:nvPr/>
            </p:nvSpPr>
            <p:spPr>
              <a:xfrm>
                <a:off x="6947837" y="3916032"/>
                <a:ext cx="615696" cy="3222402"/>
              </a:xfrm>
              <a:custGeom>
                <a:avLst/>
                <a:gdLst>
                  <a:gd name="connsiteX0" fmla="*/ 25813 w 615696"/>
                  <a:gd name="connsiteY0" fmla="*/ 0 h 3222402"/>
                  <a:gd name="connsiteX1" fmla="*/ 0 w 615696"/>
                  <a:gd name="connsiteY1" fmla="*/ 3222403 h 3222402"/>
                  <a:gd name="connsiteX2" fmla="*/ 615696 w 615696"/>
                  <a:gd name="connsiteY2" fmla="*/ 3219545 h 3222402"/>
                  <a:gd name="connsiteX3" fmla="*/ 345853 w 615696"/>
                  <a:gd name="connsiteY3" fmla="*/ 345091 h 3222402"/>
                  <a:gd name="connsiteX4" fmla="*/ 25813 w 615696"/>
                  <a:gd name="connsiteY4" fmla="*/ 0 h 322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96" h="3222402">
                    <a:moveTo>
                      <a:pt x="25813" y="0"/>
                    </a:moveTo>
                    <a:lnTo>
                      <a:pt x="0" y="3222403"/>
                    </a:lnTo>
                    <a:lnTo>
                      <a:pt x="615696" y="3219545"/>
                    </a:lnTo>
                    <a:lnTo>
                      <a:pt x="345853" y="345091"/>
                    </a:lnTo>
                    <a:lnTo>
                      <a:pt x="25813" y="0"/>
                    </a:lnTo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i$ḻíďè"/>
              <p:cNvSpPr/>
              <p:nvPr/>
            </p:nvSpPr>
            <p:spPr>
              <a:xfrm>
                <a:off x="6509687" y="3872789"/>
                <a:ext cx="134016" cy="1725549"/>
              </a:xfrm>
              <a:custGeom>
                <a:avLst/>
                <a:gdLst>
                  <a:gd name="connsiteX0" fmla="*/ 100870 w 134016"/>
                  <a:gd name="connsiteY0" fmla="*/ 1725549 h 1725549"/>
                  <a:gd name="connsiteX1" fmla="*/ 0 w 134016"/>
                  <a:gd name="connsiteY1" fmla="*/ 64579 h 1725549"/>
                  <a:gd name="connsiteX2" fmla="*/ 134017 w 134016"/>
                  <a:gd name="connsiteY2" fmla="*/ 0 h 1725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16" h="1725549">
                    <a:moveTo>
                      <a:pt x="100870" y="1725549"/>
                    </a:moveTo>
                    <a:lnTo>
                      <a:pt x="0" y="64579"/>
                    </a:lnTo>
                    <a:lnTo>
                      <a:pt x="134017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" name="ïš1ïḋe"/>
              <p:cNvSpPr/>
              <p:nvPr/>
            </p:nvSpPr>
            <p:spPr>
              <a:xfrm>
                <a:off x="7084036" y="4816526"/>
                <a:ext cx="227024" cy="248127"/>
              </a:xfrm>
              <a:custGeom>
                <a:avLst/>
                <a:gdLst>
                  <a:gd name="connsiteX0" fmla="*/ 9 w 227024"/>
                  <a:gd name="connsiteY0" fmla="*/ 1048 h 248127"/>
                  <a:gd name="connsiteX1" fmla="*/ 226799 w 227024"/>
                  <a:gd name="connsiteY1" fmla="*/ 0 h 248127"/>
                  <a:gd name="connsiteX2" fmla="*/ 116976 w 227024"/>
                  <a:gd name="connsiteY2" fmla="*/ 248126 h 248127"/>
                  <a:gd name="connsiteX3" fmla="*/ 9 w 227024"/>
                  <a:gd name="connsiteY3" fmla="*/ 1048 h 248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024" h="248127">
                    <a:moveTo>
                      <a:pt x="9" y="1048"/>
                    </a:moveTo>
                    <a:lnTo>
                      <a:pt x="226799" y="0"/>
                    </a:lnTo>
                    <a:cubicBezTo>
                      <a:pt x="226799" y="0"/>
                      <a:pt x="237181" y="247555"/>
                      <a:pt x="116976" y="248126"/>
                    </a:cubicBezTo>
                    <a:cubicBezTo>
                      <a:pt x="-3325" y="248698"/>
                      <a:pt x="9" y="1048"/>
                      <a:pt x="9" y="1048"/>
                    </a:cubicBez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9" name="îŝļiďé"/>
              <p:cNvSpPr/>
              <p:nvPr/>
            </p:nvSpPr>
            <p:spPr>
              <a:xfrm>
                <a:off x="6925740" y="3859168"/>
                <a:ext cx="140779" cy="1727454"/>
              </a:xfrm>
              <a:custGeom>
                <a:avLst/>
                <a:gdLst>
                  <a:gd name="connsiteX0" fmla="*/ 34575 w 140779"/>
                  <a:gd name="connsiteY0" fmla="*/ 1727454 h 1727454"/>
                  <a:gd name="connsiteX1" fmla="*/ 140779 w 140779"/>
                  <a:gd name="connsiteY1" fmla="*/ 85439 h 1727454"/>
                  <a:gd name="connsiteX2" fmla="*/ 0 w 140779"/>
                  <a:gd name="connsiteY2" fmla="*/ 0 h 1727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779" h="1727454">
                    <a:moveTo>
                      <a:pt x="34575" y="1727454"/>
                    </a:moveTo>
                    <a:lnTo>
                      <a:pt x="140779" y="854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2" name="图形 278"/>
              <p:cNvGrpSpPr/>
              <p:nvPr/>
            </p:nvGrpSpPr>
            <p:grpSpPr>
              <a:xfrm>
                <a:off x="6341761" y="3840019"/>
                <a:ext cx="807911" cy="739620"/>
                <a:chOff x="6341761" y="3840019"/>
                <a:chExt cx="807911" cy="739620"/>
              </a:xfrm>
              <a:solidFill>
                <a:schemeClr val="accent1"/>
              </a:solidFill>
            </p:grpSpPr>
            <p:sp>
              <p:nvSpPr>
                <p:cNvPr id="46" name="íṧḷíḓé"/>
                <p:cNvSpPr/>
                <p:nvPr/>
              </p:nvSpPr>
              <p:spPr>
                <a:xfrm>
                  <a:off x="6362145" y="4110363"/>
                  <a:ext cx="180428" cy="449022"/>
                </a:xfrm>
                <a:custGeom>
                  <a:avLst/>
                  <a:gdLst>
                    <a:gd name="connsiteX0" fmla="*/ 172879 w 180428"/>
                    <a:gd name="connsiteY0" fmla="*/ 447750 h 449022"/>
                    <a:gd name="connsiteX1" fmla="*/ 79439 w 180428"/>
                    <a:gd name="connsiteY1" fmla="*/ 137425 h 449022"/>
                    <a:gd name="connsiteX2" fmla="*/ 148590 w 180428"/>
                    <a:gd name="connsiteY2" fmla="*/ 741 h 449022"/>
                    <a:gd name="connsiteX3" fmla="*/ 171545 w 180428"/>
                    <a:gd name="connsiteY3" fmla="*/ 154475 h 449022"/>
                    <a:gd name="connsiteX4" fmla="*/ 0 w 180428"/>
                    <a:gd name="connsiteY4" fmla="*/ 429462 h 449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428" h="449022">
                      <a:moveTo>
                        <a:pt x="172879" y="447750"/>
                      </a:moveTo>
                      <a:cubicBezTo>
                        <a:pt x="172879" y="447750"/>
                        <a:pt x="46197" y="486421"/>
                        <a:pt x="79439" y="137425"/>
                      </a:cubicBezTo>
                      <a:cubicBezTo>
                        <a:pt x="79439" y="137425"/>
                        <a:pt x="94583" y="-11736"/>
                        <a:pt x="148590" y="741"/>
                      </a:cubicBezTo>
                      <a:cubicBezTo>
                        <a:pt x="202597" y="13124"/>
                        <a:pt x="171545" y="154475"/>
                        <a:pt x="171545" y="154475"/>
                      </a:cubicBezTo>
                      <a:cubicBezTo>
                        <a:pt x="112014" y="499947"/>
                        <a:pt x="0" y="429462"/>
                        <a:pt x="0" y="429462"/>
                      </a:cubicBezTo>
                    </a:path>
                  </a:pathLst>
                </a:custGeom>
                <a:noFill/>
                <a:ln w="14779" cap="flat">
                  <a:solidFill>
                    <a:srgbClr val="E95F5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îŝľíḓé"/>
                <p:cNvSpPr/>
                <p:nvPr/>
              </p:nvSpPr>
              <p:spPr>
                <a:xfrm>
                  <a:off x="6510474" y="3840019"/>
                  <a:ext cx="588239" cy="550453"/>
                </a:xfrm>
                <a:custGeom>
                  <a:avLst/>
                  <a:gdLst>
                    <a:gd name="connsiteX0" fmla="*/ 261 w 588239"/>
                    <a:gd name="connsiteY0" fmla="*/ 270990 h 550453"/>
                    <a:gd name="connsiteX1" fmla="*/ 297060 w 588239"/>
                    <a:gd name="connsiteY1" fmla="*/ 4 h 550453"/>
                    <a:gd name="connsiteX2" fmla="*/ 588239 w 588239"/>
                    <a:gd name="connsiteY2" fmla="*/ 550454 h 550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8239" h="550453">
                      <a:moveTo>
                        <a:pt x="261" y="270990"/>
                      </a:moveTo>
                      <a:cubicBezTo>
                        <a:pt x="261" y="270990"/>
                        <a:pt x="-20027" y="1528"/>
                        <a:pt x="297060" y="4"/>
                      </a:cubicBezTo>
                      <a:cubicBezTo>
                        <a:pt x="614147" y="-1520"/>
                        <a:pt x="508324" y="414437"/>
                        <a:pt x="588239" y="550454"/>
                      </a:cubicBezTo>
                    </a:path>
                  </a:pathLst>
                </a:custGeom>
                <a:noFill/>
                <a:ln w="14779" cap="flat">
                  <a:solidFill>
                    <a:srgbClr val="E95F5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8" name="íṥḻiḓê"/>
                <p:cNvSpPr/>
                <p:nvPr/>
              </p:nvSpPr>
              <p:spPr>
                <a:xfrm>
                  <a:off x="6341761" y="4519346"/>
                  <a:ext cx="40767" cy="40766"/>
                </a:xfrm>
                <a:custGeom>
                  <a:avLst/>
                  <a:gdLst>
                    <a:gd name="connsiteX0" fmla="*/ 1 w 40767"/>
                    <a:gd name="connsiteY0" fmla="*/ 20479 h 40766"/>
                    <a:gd name="connsiteX1" fmla="*/ 20479 w 40767"/>
                    <a:gd name="connsiteY1" fmla="*/ 40767 h 40766"/>
                    <a:gd name="connsiteX2" fmla="*/ 40767 w 40767"/>
                    <a:gd name="connsiteY2" fmla="*/ 20288 h 40766"/>
                    <a:gd name="connsiteX3" fmla="*/ 20288 w 40767"/>
                    <a:gd name="connsiteY3" fmla="*/ 0 h 40766"/>
                    <a:gd name="connsiteX4" fmla="*/ 1 w 40767"/>
                    <a:gd name="connsiteY4" fmla="*/ 20479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7" h="40766">
                      <a:moveTo>
                        <a:pt x="1" y="20479"/>
                      </a:moveTo>
                      <a:cubicBezTo>
                        <a:pt x="96" y="31718"/>
                        <a:pt x="9240" y="40767"/>
                        <a:pt x="20479" y="40767"/>
                      </a:cubicBezTo>
                      <a:cubicBezTo>
                        <a:pt x="31719" y="40672"/>
                        <a:pt x="40767" y="31528"/>
                        <a:pt x="40767" y="20288"/>
                      </a:cubicBezTo>
                      <a:cubicBezTo>
                        <a:pt x="40672" y="9049"/>
                        <a:pt x="31528" y="0"/>
                        <a:pt x="20288" y="0"/>
                      </a:cubicBezTo>
                      <a:cubicBezTo>
                        <a:pt x="8954" y="95"/>
                        <a:pt x="-95" y="9334"/>
                        <a:pt x="1" y="20479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ïšľiďe"/>
                <p:cNvSpPr/>
                <p:nvPr/>
              </p:nvSpPr>
              <p:spPr>
                <a:xfrm>
                  <a:off x="7047659" y="4339513"/>
                  <a:ext cx="102013" cy="102015"/>
                </a:xfrm>
                <a:custGeom>
                  <a:avLst/>
                  <a:gdLst>
                    <a:gd name="connsiteX0" fmla="*/ 0 w 102013"/>
                    <a:gd name="connsiteY0" fmla="*/ 51246 h 102015"/>
                    <a:gd name="connsiteX1" fmla="*/ 51245 w 102013"/>
                    <a:gd name="connsiteY1" fmla="*/ 102014 h 102015"/>
                    <a:gd name="connsiteX2" fmla="*/ 102013 w 102013"/>
                    <a:gd name="connsiteY2" fmla="*/ 50769 h 102015"/>
                    <a:gd name="connsiteX3" fmla="*/ 50768 w 102013"/>
                    <a:gd name="connsiteY3" fmla="*/ 1 h 102015"/>
                    <a:gd name="connsiteX4" fmla="*/ 0 w 102013"/>
                    <a:gd name="connsiteY4" fmla="*/ 51246 h 102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013" h="102015">
                      <a:moveTo>
                        <a:pt x="0" y="51246"/>
                      </a:moveTo>
                      <a:cubicBezTo>
                        <a:pt x="96" y="79440"/>
                        <a:pt x="23051" y="102205"/>
                        <a:pt x="51245" y="102014"/>
                      </a:cubicBezTo>
                      <a:cubicBezTo>
                        <a:pt x="79438" y="101919"/>
                        <a:pt x="102203" y="78964"/>
                        <a:pt x="102013" y="50769"/>
                      </a:cubicBezTo>
                      <a:cubicBezTo>
                        <a:pt x="101918" y="22576"/>
                        <a:pt x="78962" y="-189"/>
                        <a:pt x="50768" y="1"/>
                      </a:cubicBezTo>
                      <a:cubicBezTo>
                        <a:pt x="22670" y="97"/>
                        <a:pt x="-95" y="23052"/>
                        <a:pt x="0" y="51246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iṡḻîḑè"/>
                <p:cNvSpPr/>
                <p:nvPr/>
              </p:nvSpPr>
              <p:spPr>
                <a:xfrm>
                  <a:off x="7072043" y="4363802"/>
                  <a:ext cx="53436" cy="53436"/>
                </a:xfrm>
                <a:custGeom>
                  <a:avLst/>
                  <a:gdLst>
                    <a:gd name="connsiteX0" fmla="*/ 1 w 53436"/>
                    <a:gd name="connsiteY0" fmla="*/ 26861 h 53436"/>
                    <a:gd name="connsiteX1" fmla="*/ 26861 w 53436"/>
                    <a:gd name="connsiteY1" fmla="*/ 53436 h 53436"/>
                    <a:gd name="connsiteX2" fmla="*/ 53436 w 53436"/>
                    <a:gd name="connsiteY2" fmla="*/ 26575 h 53436"/>
                    <a:gd name="connsiteX3" fmla="*/ 26575 w 53436"/>
                    <a:gd name="connsiteY3" fmla="*/ 1 h 53436"/>
                    <a:gd name="connsiteX4" fmla="*/ 1 w 53436"/>
                    <a:gd name="connsiteY4" fmla="*/ 26861 h 53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36" h="53436">
                      <a:moveTo>
                        <a:pt x="1" y="26861"/>
                      </a:moveTo>
                      <a:cubicBezTo>
                        <a:pt x="96" y="41625"/>
                        <a:pt x="12097" y="53531"/>
                        <a:pt x="26861" y="53436"/>
                      </a:cubicBezTo>
                      <a:cubicBezTo>
                        <a:pt x="41625" y="53341"/>
                        <a:pt x="53531" y="41339"/>
                        <a:pt x="53436" y="26575"/>
                      </a:cubicBezTo>
                      <a:cubicBezTo>
                        <a:pt x="53340" y="11812"/>
                        <a:pt x="41339" y="-95"/>
                        <a:pt x="26575" y="1"/>
                      </a:cubicBezTo>
                      <a:cubicBezTo>
                        <a:pt x="11811" y="96"/>
                        <a:pt x="-95" y="12097"/>
                        <a:pt x="1" y="26861"/>
                      </a:cubicBezTo>
                      <a:close/>
                    </a:path>
                  </a:pathLst>
                </a:custGeom>
                <a:solidFill>
                  <a:srgbClr val="E8E7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îṥḷíḓé"/>
                <p:cNvSpPr/>
                <p:nvPr/>
              </p:nvSpPr>
              <p:spPr>
                <a:xfrm>
                  <a:off x="6517497" y="4538872"/>
                  <a:ext cx="40768" cy="40766"/>
                </a:xfrm>
                <a:custGeom>
                  <a:avLst/>
                  <a:gdLst>
                    <a:gd name="connsiteX0" fmla="*/ 1 w 40768"/>
                    <a:gd name="connsiteY0" fmla="*/ 20479 h 40766"/>
                    <a:gd name="connsiteX1" fmla="*/ 20480 w 40768"/>
                    <a:gd name="connsiteY1" fmla="*/ 40767 h 40766"/>
                    <a:gd name="connsiteX2" fmla="*/ 40768 w 40768"/>
                    <a:gd name="connsiteY2" fmla="*/ 20288 h 40766"/>
                    <a:gd name="connsiteX3" fmla="*/ 20289 w 40768"/>
                    <a:gd name="connsiteY3" fmla="*/ 0 h 40766"/>
                    <a:gd name="connsiteX4" fmla="*/ 1 w 40768"/>
                    <a:gd name="connsiteY4" fmla="*/ 20479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8" h="40766">
                      <a:moveTo>
                        <a:pt x="1" y="20479"/>
                      </a:moveTo>
                      <a:cubicBezTo>
                        <a:pt x="96" y="31718"/>
                        <a:pt x="9240" y="40767"/>
                        <a:pt x="20480" y="40767"/>
                      </a:cubicBezTo>
                      <a:cubicBezTo>
                        <a:pt x="31719" y="40672"/>
                        <a:pt x="40768" y="31528"/>
                        <a:pt x="40768" y="20288"/>
                      </a:cubicBezTo>
                      <a:cubicBezTo>
                        <a:pt x="40673" y="9049"/>
                        <a:pt x="31528" y="0"/>
                        <a:pt x="20289" y="0"/>
                      </a:cubicBezTo>
                      <a:cubicBezTo>
                        <a:pt x="8954" y="95"/>
                        <a:pt x="-95" y="9239"/>
                        <a:pt x="1" y="20479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3" name="图形 278"/>
              <p:cNvGrpSpPr/>
              <p:nvPr/>
            </p:nvGrpSpPr>
            <p:grpSpPr>
              <a:xfrm>
                <a:off x="6535287" y="3146502"/>
                <a:ext cx="559903" cy="962698"/>
                <a:chOff x="6535287" y="3146502"/>
                <a:chExt cx="559903" cy="962698"/>
              </a:xfrm>
              <a:solidFill>
                <a:schemeClr val="accent1"/>
              </a:solidFill>
            </p:grpSpPr>
            <p:sp>
              <p:nvSpPr>
                <p:cNvPr id="32" name="íṧľíďe"/>
                <p:cNvSpPr/>
                <p:nvPr/>
              </p:nvSpPr>
              <p:spPr>
                <a:xfrm>
                  <a:off x="6638751" y="3716483"/>
                  <a:ext cx="289847" cy="392717"/>
                </a:xfrm>
                <a:custGeom>
                  <a:avLst/>
                  <a:gdLst>
                    <a:gd name="connsiteX0" fmla="*/ 146209 w 289847"/>
                    <a:gd name="connsiteY0" fmla="*/ 392716 h 392717"/>
                    <a:gd name="connsiteX1" fmla="*/ 146209 w 289847"/>
                    <a:gd name="connsiteY1" fmla="*/ 392716 h 392717"/>
                    <a:gd name="connsiteX2" fmla="*/ 289846 w 289847"/>
                    <a:gd name="connsiteY2" fmla="*/ 247650 h 392717"/>
                    <a:gd name="connsiteX3" fmla="*/ 288703 w 289847"/>
                    <a:gd name="connsiteY3" fmla="*/ 0 h 392717"/>
                    <a:gd name="connsiteX4" fmla="*/ 0 w 289847"/>
                    <a:gd name="connsiteY4" fmla="*/ 1333 h 392717"/>
                    <a:gd name="connsiteX5" fmla="*/ 1143 w 289847"/>
                    <a:gd name="connsiteY5" fmla="*/ 248984 h 392717"/>
                    <a:gd name="connsiteX6" fmla="*/ 146209 w 289847"/>
                    <a:gd name="connsiteY6" fmla="*/ 392716 h 392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9847" h="392717">
                      <a:moveTo>
                        <a:pt x="146209" y="392716"/>
                      </a:moveTo>
                      <a:lnTo>
                        <a:pt x="146209" y="392716"/>
                      </a:lnTo>
                      <a:cubicBezTo>
                        <a:pt x="225933" y="392335"/>
                        <a:pt x="290226" y="327374"/>
                        <a:pt x="289846" y="247650"/>
                      </a:cubicBezTo>
                      <a:lnTo>
                        <a:pt x="288703" y="0"/>
                      </a:lnTo>
                      <a:lnTo>
                        <a:pt x="0" y="1333"/>
                      </a:lnTo>
                      <a:lnTo>
                        <a:pt x="1143" y="248984"/>
                      </a:lnTo>
                      <a:cubicBezTo>
                        <a:pt x="1524" y="328803"/>
                        <a:pt x="66484" y="393097"/>
                        <a:pt x="146209" y="392716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3" name="iṥlîḋê"/>
                <p:cNvSpPr/>
                <p:nvPr/>
              </p:nvSpPr>
              <p:spPr>
                <a:xfrm>
                  <a:off x="6535287" y="3146502"/>
                  <a:ext cx="490278" cy="663710"/>
                </a:xfrm>
                <a:custGeom>
                  <a:avLst/>
                  <a:gdLst>
                    <a:gd name="connsiteX0" fmla="*/ 117 w 490278"/>
                    <a:gd name="connsiteY0" fmla="*/ 377767 h 663710"/>
                    <a:gd name="connsiteX1" fmla="*/ 223098 w 490278"/>
                    <a:gd name="connsiteY1" fmla="*/ 663707 h 663710"/>
                    <a:gd name="connsiteX2" fmla="*/ 490274 w 490278"/>
                    <a:gd name="connsiteY2" fmla="*/ 375385 h 663710"/>
                    <a:gd name="connsiteX3" fmla="*/ 243386 w 490278"/>
                    <a:gd name="connsiteY3" fmla="*/ 5 h 663710"/>
                    <a:gd name="connsiteX4" fmla="*/ 117 w 490278"/>
                    <a:gd name="connsiteY4" fmla="*/ 377767 h 663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278" h="663710">
                      <a:moveTo>
                        <a:pt x="117" y="377767"/>
                      </a:moveTo>
                      <a:cubicBezTo>
                        <a:pt x="975" y="561313"/>
                        <a:pt x="87748" y="664374"/>
                        <a:pt x="223098" y="663707"/>
                      </a:cubicBezTo>
                      <a:cubicBezTo>
                        <a:pt x="358448" y="663040"/>
                        <a:pt x="491131" y="558932"/>
                        <a:pt x="490274" y="375385"/>
                      </a:cubicBezTo>
                      <a:cubicBezTo>
                        <a:pt x="489417" y="191839"/>
                        <a:pt x="488464" y="-1138"/>
                        <a:pt x="243386" y="5"/>
                      </a:cubicBezTo>
                      <a:cubicBezTo>
                        <a:pt x="-1692" y="1243"/>
                        <a:pt x="-835" y="194220"/>
                        <a:pt x="117" y="377767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4" name="íṡ1ïdê"/>
                <p:cNvSpPr/>
                <p:nvPr/>
              </p:nvSpPr>
              <p:spPr>
                <a:xfrm>
                  <a:off x="6999844" y="3439295"/>
                  <a:ext cx="95347" cy="171651"/>
                </a:xfrm>
                <a:custGeom>
                  <a:avLst/>
                  <a:gdLst>
                    <a:gd name="connsiteX0" fmla="*/ 95345 w 95347"/>
                    <a:gd name="connsiteY0" fmla="*/ 67448 h 171651"/>
                    <a:gd name="connsiteX1" fmla="*/ 762 w 95347"/>
                    <a:gd name="connsiteY1" fmla="*/ 171651 h 171651"/>
                    <a:gd name="connsiteX2" fmla="*/ 0 w 95347"/>
                    <a:gd name="connsiteY2" fmla="*/ 5631 h 171651"/>
                    <a:gd name="connsiteX3" fmla="*/ 95345 w 95347"/>
                    <a:gd name="connsiteY3" fmla="*/ 67448 h 171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347" h="171651">
                      <a:moveTo>
                        <a:pt x="95345" y="67448"/>
                      </a:moveTo>
                      <a:cubicBezTo>
                        <a:pt x="95822" y="162603"/>
                        <a:pt x="762" y="171651"/>
                        <a:pt x="762" y="171651"/>
                      </a:cubicBezTo>
                      <a:lnTo>
                        <a:pt x="0" y="5631"/>
                      </a:lnTo>
                      <a:cubicBezTo>
                        <a:pt x="-95" y="5631"/>
                        <a:pt x="94869" y="-27612"/>
                        <a:pt x="95345" y="6744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5" name="iśḻídè"/>
                <p:cNvSpPr/>
                <p:nvPr/>
              </p:nvSpPr>
              <p:spPr>
                <a:xfrm>
                  <a:off x="7017275" y="3478921"/>
                  <a:ext cx="45911" cy="92305"/>
                </a:xfrm>
                <a:custGeom>
                  <a:avLst/>
                  <a:gdLst>
                    <a:gd name="connsiteX0" fmla="*/ 45911 w 45911"/>
                    <a:gd name="connsiteY0" fmla="*/ 36299 h 92305"/>
                    <a:gd name="connsiteX1" fmla="*/ 381 w 45911"/>
                    <a:gd name="connsiteY1" fmla="*/ 92306 h 92305"/>
                    <a:gd name="connsiteX2" fmla="*/ 0 w 45911"/>
                    <a:gd name="connsiteY2" fmla="*/ 2961 h 92305"/>
                    <a:gd name="connsiteX3" fmla="*/ 45911 w 45911"/>
                    <a:gd name="connsiteY3" fmla="*/ 36299 h 92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911" h="92305">
                      <a:moveTo>
                        <a:pt x="45911" y="36299"/>
                      </a:moveTo>
                      <a:cubicBezTo>
                        <a:pt x="46196" y="87448"/>
                        <a:pt x="381" y="92306"/>
                        <a:pt x="381" y="92306"/>
                      </a:cubicBezTo>
                      <a:lnTo>
                        <a:pt x="0" y="2961"/>
                      </a:lnTo>
                      <a:cubicBezTo>
                        <a:pt x="0" y="3057"/>
                        <a:pt x="45720" y="-14850"/>
                        <a:pt x="45911" y="36299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6" name="îṧ1iḑe"/>
                <p:cNvSpPr/>
                <p:nvPr/>
              </p:nvSpPr>
              <p:spPr>
                <a:xfrm rot="-16317">
                  <a:off x="6838752" y="3438072"/>
                  <a:ext cx="66485" cy="49530"/>
                </a:xfrm>
                <a:custGeom>
                  <a:avLst/>
                  <a:gdLst>
                    <a:gd name="connsiteX0" fmla="*/ 66485 w 66485"/>
                    <a:gd name="connsiteY0" fmla="*/ 24765 h 49530"/>
                    <a:gd name="connsiteX1" fmla="*/ 33243 w 66485"/>
                    <a:gd name="connsiteY1" fmla="*/ 49531 h 49530"/>
                    <a:gd name="connsiteX2" fmla="*/ 0 w 66485"/>
                    <a:gd name="connsiteY2" fmla="*/ 24765 h 49530"/>
                    <a:gd name="connsiteX3" fmla="*/ 33243 w 66485"/>
                    <a:gd name="connsiteY3" fmla="*/ 0 h 49530"/>
                    <a:gd name="connsiteX4" fmla="*/ 66485 w 66485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5" h="49530">
                      <a:moveTo>
                        <a:pt x="66485" y="24765"/>
                      </a:moveTo>
                      <a:cubicBezTo>
                        <a:pt x="66485" y="38443"/>
                        <a:pt x="51602" y="49531"/>
                        <a:pt x="33243" y="49531"/>
                      </a:cubicBezTo>
                      <a:cubicBezTo>
                        <a:pt x="14883" y="49531"/>
                        <a:pt x="0" y="38443"/>
                        <a:pt x="0" y="24765"/>
                      </a:cubicBezTo>
                      <a:cubicBezTo>
                        <a:pt x="0" y="11088"/>
                        <a:pt x="14883" y="0"/>
                        <a:pt x="33243" y="0"/>
                      </a:cubicBezTo>
                      <a:cubicBezTo>
                        <a:pt x="51602" y="0"/>
                        <a:pt x="66485" y="11088"/>
                        <a:pt x="66485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7" name="ï$ḷiḓê"/>
                <p:cNvSpPr/>
                <p:nvPr/>
              </p:nvSpPr>
              <p:spPr>
                <a:xfrm>
                  <a:off x="6604270" y="3439210"/>
                  <a:ext cx="66580" cy="49531"/>
                </a:xfrm>
                <a:custGeom>
                  <a:avLst/>
                  <a:gdLst>
                    <a:gd name="connsiteX0" fmla="*/ 66580 w 66580"/>
                    <a:gd name="connsiteY0" fmla="*/ 24575 h 49531"/>
                    <a:gd name="connsiteX1" fmla="*/ 33433 w 66580"/>
                    <a:gd name="connsiteY1" fmla="*/ 49531 h 49531"/>
                    <a:gd name="connsiteX2" fmla="*/ 0 w 66580"/>
                    <a:gd name="connsiteY2" fmla="*/ 24956 h 49531"/>
                    <a:gd name="connsiteX3" fmla="*/ 33147 w 66580"/>
                    <a:gd name="connsiteY3" fmla="*/ 1 h 49531"/>
                    <a:gd name="connsiteX4" fmla="*/ 66580 w 66580"/>
                    <a:gd name="connsiteY4" fmla="*/ 24575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580" h="49531">
                      <a:moveTo>
                        <a:pt x="66580" y="24575"/>
                      </a:moveTo>
                      <a:cubicBezTo>
                        <a:pt x="66675" y="38291"/>
                        <a:pt x="51816" y="49435"/>
                        <a:pt x="33433" y="49531"/>
                      </a:cubicBezTo>
                      <a:cubicBezTo>
                        <a:pt x="15050" y="49626"/>
                        <a:pt x="95" y="38577"/>
                        <a:pt x="0" y="24956"/>
                      </a:cubicBezTo>
                      <a:cubicBezTo>
                        <a:pt x="-95" y="11240"/>
                        <a:pt x="14764" y="96"/>
                        <a:pt x="33147" y="1"/>
                      </a:cubicBezTo>
                      <a:cubicBezTo>
                        <a:pt x="51530" y="-95"/>
                        <a:pt x="66485" y="10954"/>
                        <a:pt x="66580" y="2457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8" name="íṩḻidè"/>
                <p:cNvSpPr/>
                <p:nvPr/>
              </p:nvSpPr>
              <p:spPr>
                <a:xfrm>
                  <a:off x="6854015" y="3443021"/>
                  <a:ext cx="39625" cy="39624"/>
                </a:xfrm>
                <a:custGeom>
                  <a:avLst/>
                  <a:gdLst>
                    <a:gd name="connsiteX0" fmla="*/ 39625 w 39625"/>
                    <a:gd name="connsiteY0" fmla="*/ 19717 h 39624"/>
                    <a:gd name="connsiteX1" fmla="*/ 19908 w 39625"/>
                    <a:gd name="connsiteY1" fmla="*/ 39624 h 39624"/>
                    <a:gd name="connsiteX2" fmla="*/ 1 w 39625"/>
                    <a:gd name="connsiteY2" fmla="*/ 19907 h 39624"/>
                    <a:gd name="connsiteX3" fmla="*/ 19718 w 39625"/>
                    <a:gd name="connsiteY3" fmla="*/ 0 h 39624"/>
                    <a:gd name="connsiteX4" fmla="*/ 39625 w 39625"/>
                    <a:gd name="connsiteY4" fmla="*/ 19717 h 39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5" h="39624">
                      <a:moveTo>
                        <a:pt x="39625" y="19717"/>
                      </a:moveTo>
                      <a:cubicBezTo>
                        <a:pt x="39720" y="30671"/>
                        <a:pt x="30862" y="39529"/>
                        <a:pt x="19908" y="39624"/>
                      </a:cubicBezTo>
                      <a:cubicBezTo>
                        <a:pt x="8954" y="39719"/>
                        <a:pt x="96" y="30861"/>
                        <a:pt x="1" y="19907"/>
                      </a:cubicBezTo>
                      <a:cubicBezTo>
                        <a:pt x="-95" y="8953"/>
                        <a:pt x="8764" y="95"/>
                        <a:pt x="19718" y="0"/>
                      </a:cubicBezTo>
                      <a:cubicBezTo>
                        <a:pt x="30672" y="0"/>
                        <a:pt x="39625" y="8763"/>
                        <a:pt x="39625" y="19717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" name="iŝ1iḍe"/>
                <p:cNvSpPr/>
                <p:nvPr/>
              </p:nvSpPr>
              <p:spPr>
                <a:xfrm>
                  <a:off x="6619700" y="3444163"/>
                  <a:ext cx="39625" cy="39625"/>
                </a:xfrm>
                <a:custGeom>
                  <a:avLst/>
                  <a:gdLst>
                    <a:gd name="connsiteX0" fmla="*/ 39625 w 39625"/>
                    <a:gd name="connsiteY0" fmla="*/ 19718 h 39625"/>
                    <a:gd name="connsiteX1" fmla="*/ 19908 w 39625"/>
                    <a:gd name="connsiteY1" fmla="*/ 39625 h 39625"/>
                    <a:gd name="connsiteX2" fmla="*/ 1 w 39625"/>
                    <a:gd name="connsiteY2" fmla="*/ 19908 h 39625"/>
                    <a:gd name="connsiteX3" fmla="*/ 19718 w 39625"/>
                    <a:gd name="connsiteY3" fmla="*/ 1 h 39625"/>
                    <a:gd name="connsiteX4" fmla="*/ 39625 w 39625"/>
                    <a:gd name="connsiteY4" fmla="*/ 19718 h 3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5" h="39625">
                      <a:moveTo>
                        <a:pt x="39625" y="19718"/>
                      </a:moveTo>
                      <a:cubicBezTo>
                        <a:pt x="39720" y="30671"/>
                        <a:pt x="30862" y="39530"/>
                        <a:pt x="19908" y="39625"/>
                      </a:cubicBezTo>
                      <a:cubicBezTo>
                        <a:pt x="8954" y="39720"/>
                        <a:pt x="96" y="30862"/>
                        <a:pt x="1" y="19908"/>
                      </a:cubicBezTo>
                      <a:cubicBezTo>
                        <a:pt x="-95" y="8954"/>
                        <a:pt x="8764" y="96"/>
                        <a:pt x="19718" y="1"/>
                      </a:cubicBezTo>
                      <a:cubicBezTo>
                        <a:pt x="30671" y="-94"/>
                        <a:pt x="39529" y="8764"/>
                        <a:pt x="39625" y="19718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0" name="išľïdè"/>
                <p:cNvSpPr/>
                <p:nvPr/>
              </p:nvSpPr>
              <p:spPr>
                <a:xfrm>
                  <a:off x="6710227" y="3480264"/>
                  <a:ext cx="47205" cy="131922"/>
                </a:xfrm>
                <a:custGeom>
                  <a:avLst/>
                  <a:gdLst>
                    <a:gd name="connsiteX0" fmla="*/ 46539 w 47205"/>
                    <a:gd name="connsiteY0" fmla="*/ 0 h 131922"/>
                    <a:gd name="connsiteX1" fmla="*/ 47206 w 47205"/>
                    <a:gd name="connsiteY1" fmla="*/ 131921 h 131922"/>
                    <a:gd name="connsiteX2" fmla="*/ 46539 w 47205"/>
                    <a:gd name="connsiteY2" fmla="*/ 0 h 131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205" h="131922">
                      <a:moveTo>
                        <a:pt x="46539" y="0"/>
                      </a:moveTo>
                      <a:lnTo>
                        <a:pt x="47206" y="131921"/>
                      </a:lnTo>
                      <a:cubicBezTo>
                        <a:pt x="-58617" y="132397"/>
                        <a:pt x="46539" y="0"/>
                        <a:pt x="46539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1" name="îşḷiďe"/>
                <p:cNvSpPr/>
                <p:nvPr/>
              </p:nvSpPr>
              <p:spPr>
                <a:xfrm>
                  <a:off x="6700473" y="3653809"/>
                  <a:ext cx="114109" cy="13421"/>
                </a:xfrm>
                <a:custGeom>
                  <a:avLst/>
                  <a:gdLst>
                    <a:gd name="connsiteX0" fmla="*/ 114109 w 114109"/>
                    <a:gd name="connsiteY0" fmla="*/ 0 h 13421"/>
                    <a:gd name="connsiteX1" fmla="*/ 0 w 114109"/>
                    <a:gd name="connsiteY1" fmla="*/ 571 h 13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109" h="13421">
                      <a:moveTo>
                        <a:pt x="114109" y="0"/>
                      </a:moveTo>
                      <a:cubicBezTo>
                        <a:pt x="114109" y="0"/>
                        <a:pt x="57245" y="29813"/>
                        <a:pt x="0" y="571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2" name="işḻiḓe"/>
                <p:cNvSpPr/>
                <p:nvPr/>
              </p:nvSpPr>
              <p:spPr>
                <a:xfrm>
                  <a:off x="6835252" y="3412321"/>
                  <a:ext cx="72961" cy="12220"/>
                </a:xfrm>
                <a:custGeom>
                  <a:avLst/>
                  <a:gdLst>
                    <a:gd name="connsiteX0" fmla="*/ 0 w 72961"/>
                    <a:gd name="connsiteY0" fmla="*/ 12221 h 12220"/>
                    <a:gd name="connsiteX1" fmla="*/ 72961 w 72961"/>
                    <a:gd name="connsiteY1" fmla="*/ 11840 h 12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220">
                      <a:moveTo>
                        <a:pt x="0" y="12221"/>
                      </a:moveTo>
                      <a:cubicBezTo>
                        <a:pt x="0" y="12221"/>
                        <a:pt x="36385" y="-15020"/>
                        <a:pt x="72961" y="1184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ï$ļiḍé"/>
                <p:cNvSpPr/>
                <p:nvPr/>
              </p:nvSpPr>
              <p:spPr>
                <a:xfrm>
                  <a:off x="6600841" y="3413464"/>
                  <a:ext cx="72961" cy="12221"/>
                </a:xfrm>
                <a:custGeom>
                  <a:avLst/>
                  <a:gdLst>
                    <a:gd name="connsiteX0" fmla="*/ 0 w 72961"/>
                    <a:gd name="connsiteY0" fmla="*/ 12221 h 12221"/>
                    <a:gd name="connsiteX1" fmla="*/ 72962 w 72961"/>
                    <a:gd name="connsiteY1" fmla="*/ 11840 h 12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221">
                      <a:moveTo>
                        <a:pt x="0" y="12221"/>
                      </a:moveTo>
                      <a:cubicBezTo>
                        <a:pt x="0" y="12221"/>
                        <a:pt x="36386" y="-15020"/>
                        <a:pt x="72962" y="1184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ïşlîḍè"/>
                <p:cNvSpPr/>
                <p:nvPr/>
              </p:nvSpPr>
              <p:spPr>
                <a:xfrm>
                  <a:off x="6847920" y="3512553"/>
                  <a:ext cx="140779" cy="140779"/>
                </a:xfrm>
                <a:custGeom>
                  <a:avLst/>
                  <a:gdLst>
                    <a:gd name="connsiteX0" fmla="*/ 140780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80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80" y="70390"/>
                      </a:moveTo>
                      <a:cubicBezTo>
                        <a:pt x="140780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4" y="0"/>
                        <a:pt x="70390" y="0"/>
                      </a:cubicBezTo>
                      <a:cubicBezTo>
                        <a:pt x="109265" y="0"/>
                        <a:pt x="140780" y="31515"/>
                        <a:pt x="140780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iṥľïďê"/>
                <p:cNvSpPr/>
                <p:nvPr/>
              </p:nvSpPr>
              <p:spPr>
                <a:xfrm>
                  <a:off x="6535786" y="3514076"/>
                  <a:ext cx="122110" cy="140877"/>
                </a:xfrm>
                <a:custGeom>
                  <a:avLst/>
                  <a:gdLst>
                    <a:gd name="connsiteX0" fmla="*/ 51339 w 122110"/>
                    <a:gd name="connsiteY0" fmla="*/ 1 h 140877"/>
                    <a:gd name="connsiteX1" fmla="*/ 122110 w 122110"/>
                    <a:gd name="connsiteY1" fmla="*/ 70105 h 140877"/>
                    <a:gd name="connsiteX2" fmla="*/ 52006 w 122110"/>
                    <a:gd name="connsiteY2" fmla="*/ 140876 h 140877"/>
                    <a:gd name="connsiteX3" fmla="*/ 15240 w 122110"/>
                    <a:gd name="connsiteY3" fmla="*/ 130493 h 140877"/>
                    <a:gd name="connsiteX4" fmla="*/ 0 w 122110"/>
                    <a:gd name="connsiteY4" fmla="*/ 22956 h 140877"/>
                    <a:gd name="connsiteX5" fmla="*/ 51339 w 122110"/>
                    <a:gd name="connsiteY5" fmla="*/ 1 h 140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110" h="140877">
                      <a:moveTo>
                        <a:pt x="51339" y="1"/>
                      </a:moveTo>
                      <a:cubicBezTo>
                        <a:pt x="90201" y="-190"/>
                        <a:pt x="121920" y="31148"/>
                        <a:pt x="122110" y="70105"/>
                      </a:cubicBezTo>
                      <a:cubicBezTo>
                        <a:pt x="122301" y="108967"/>
                        <a:pt x="90964" y="140685"/>
                        <a:pt x="52006" y="140876"/>
                      </a:cubicBezTo>
                      <a:cubicBezTo>
                        <a:pt x="38481" y="140971"/>
                        <a:pt x="26003" y="136970"/>
                        <a:pt x="15240" y="130493"/>
                      </a:cubicBezTo>
                      <a:cubicBezTo>
                        <a:pt x="6191" y="98870"/>
                        <a:pt x="1143" y="62866"/>
                        <a:pt x="0" y="22956"/>
                      </a:cubicBezTo>
                      <a:cubicBezTo>
                        <a:pt x="12859" y="8954"/>
                        <a:pt x="30956" y="96"/>
                        <a:pt x="51339" y="1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4" name="îS1íḍê"/>
              <p:cNvSpPr/>
              <p:nvPr/>
            </p:nvSpPr>
            <p:spPr>
              <a:xfrm>
                <a:off x="6311948" y="5732545"/>
                <a:ext cx="260317" cy="261842"/>
              </a:xfrm>
              <a:custGeom>
                <a:avLst/>
                <a:gdLst>
                  <a:gd name="connsiteX0" fmla="*/ 0 w 260317"/>
                  <a:gd name="connsiteY0" fmla="*/ 196596 h 261842"/>
                  <a:gd name="connsiteX1" fmla="*/ 194786 w 260317"/>
                  <a:gd name="connsiteY1" fmla="*/ 0 h 261842"/>
                  <a:gd name="connsiteX2" fmla="*/ 260318 w 260317"/>
                  <a:gd name="connsiteY2" fmla="*/ 64865 h 261842"/>
                  <a:gd name="connsiteX3" fmla="*/ 65246 w 260317"/>
                  <a:gd name="connsiteY3" fmla="*/ 261842 h 261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0317" h="261842">
                    <a:moveTo>
                      <a:pt x="0" y="196596"/>
                    </a:moveTo>
                    <a:lnTo>
                      <a:pt x="194786" y="0"/>
                    </a:lnTo>
                    <a:lnTo>
                      <a:pt x="260318" y="64865"/>
                    </a:lnTo>
                    <a:lnTo>
                      <a:pt x="65246" y="261842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5" name="iśļïde"/>
              <p:cNvSpPr/>
              <p:nvPr/>
            </p:nvSpPr>
            <p:spPr>
              <a:xfrm>
                <a:off x="7038039" y="5729687"/>
                <a:ext cx="261556" cy="260604"/>
              </a:xfrm>
              <a:custGeom>
                <a:avLst/>
                <a:gdLst>
                  <a:gd name="connsiteX0" fmla="*/ 261557 w 261556"/>
                  <a:gd name="connsiteY0" fmla="*/ 194786 h 260604"/>
                  <a:gd name="connsiteX1" fmla="*/ 64865 w 261556"/>
                  <a:gd name="connsiteY1" fmla="*/ 0 h 260604"/>
                  <a:gd name="connsiteX2" fmla="*/ 0 w 261556"/>
                  <a:gd name="connsiteY2" fmla="*/ 65532 h 260604"/>
                  <a:gd name="connsiteX3" fmla="*/ 196882 w 261556"/>
                  <a:gd name="connsiteY3" fmla="*/ 260604 h 26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556" h="260604">
                    <a:moveTo>
                      <a:pt x="261557" y="194786"/>
                    </a:moveTo>
                    <a:lnTo>
                      <a:pt x="64865" y="0"/>
                    </a:lnTo>
                    <a:lnTo>
                      <a:pt x="0" y="65532"/>
                    </a:lnTo>
                    <a:lnTo>
                      <a:pt x="196882" y="260604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6" name="íşḻide"/>
              <p:cNvSpPr/>
              <p:nvPr/>
            </p:nvSpPr>
            <p:spPr>
              <a:xfrm>
                <a:off x="6611033" y="5709780"/>
                <a:ext cx="348233" cy="58864"/>
              </a:xfrm>
              <a:custGeom>
                <a:avLst/>
                <a:gdLst>
                  <a:gd name="connsiteX0" fmla="*/ 348234 w 348233"/>
                  <a:gd name="connsiteY0" fmla="*/ 0 h 58864"/>
                  <a:gd name="connsiteX1" fmla="*/ 0 w 348233"/>
                  <a:gd name="connsiteY1" fmla="*/ 1619 h 58864"/>
                  <a:gd name="connsiteX2" fmla="*/ 286 w 348233"/>
                  <a:gd name="connsiteY2" fmla="*/ 58864 h 58864"/>
                  <a:gd name="connsiteX3" fmla="*/ 347758 w 348233"/>
                  <a:gd name="connsiteY3" fmla="*/ 57245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8233" h="58864">
                    <a:moveTo>
                      <a:pt x="348234" y="0"/>
                    </a:moveTo>
                    <a:lnTo>
                      <a:pt x="0" y="1619"/>
                    </a:lnTo>
                    <a:lnTo>
                      <a:pt x="286" y="58864"/>
                    </a:lnTo>
                    <a:lnTo>
                      <a:pt x="347758" y="57245"/>
                    </a:ln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îsľîḓe"/>
              <p:cNvSpPr/>
              <p:nvPr/>
            </p:nvSpPr>
            <p:spPr>
              <a:xfrm>
                <a:off x="6565977" y="3907269"/>
                <a:ext cx="437254" cy="266848"/>
              </a:xfrm>
              <a:custGeom>
                <a:avLst/>
                <a:gdLst>
                  <a:gd name="connsiteX0" fmla="*/ 374716 w 437254"/>
                  <a:gd name="connsiteY0" fmla="*/ 9049 h 266848"/>
                  <a:gd name="connsiteX1" fmla="*/ 362334 w 437254"/>
                  <a:gd name="connsiteY1" fmla="*/ 0 h 266848"/>
                  <a:gd name="connsiteX2" fmla="*/ 218887 w 437254"/>
                  <a:gd name="connsiteY2" fmla="*/ 184309 h 266848"/>
                  <a:gd name="connsiteX3" fmla="*/ 73631 w 437254"/>
                  <a:gd name="connsiteY3" fmla="*/ 1429 h 266848"/>
                  <a:gd name="connsiteX4" fmla="*/ 61344 w 437254"/>
                  <a:gd name="connsiteY4" fmla="*/ 10668 h 266848"/>
                  <a:gd name="connsiteX5" fmla="*/ 43818 w 437254"/>
                  <a:gd name="connsiteY5" fmla="*/ 236029 h 266848"/>
                  <a:gd name="connsiteX6" fmla="*/ 219078 w 437254"/>
                  <a:gd name="connsiteY6" fmla="*/ 225647 h 266848"/>
                  <a:gd name="connsiteX7" fmla="*/ 394433 w 437254"/>
                  <a:gd name="connsiteY7" fmla="*/ 234410 h 266848"/>
                  <a:gd name="connsiteX8" fmla="*/ 374716 w 437254"/>
                  <a:gd name="connsiteY8" fmla="*/ 9049 h 266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254" h="266848">
                    <a:moveTo>
                      <a:pt x="374716" y="9049"/>
                    </a:moveTo>
                    <a:lnTo>
                      <a:pt x="362334" y="0"/>
                    </a:lnTo>
                    <a:cubicBezTo>
                      <a:pt x="363001" y="137827"/>
                      <a:pt x="218887" y="184309"/>
                      <a:pt x="218887" y="184309"/>
                    </a:cubicBezTo>
                    <a:cubicBezTo>
                      <a:pt x="218887" y="184309"/>
                      <a:pt x="74298" y="139160"/>
                      <a:pt x="73631" y="1429"/>
                    </a:cubicBezTo>
                    <a:lnTo>
                      <a:pt x="61344" y="10668"/>
                    </a:lnTo>
                    <a:cubicBezTo>
                      <a:pt x="-11427" y="65056"/>
                      <a:pt x="-22190" y="173736"/>
                      <a:pt x="43818" y="236029"/>
                    </a:cubicBezTo>
                    <a:cubicBezTo>
                      <a:pt x="82394" y="272415"/>
                      <a:pt x="138687" y="285274"/>
                      <a:pt x="219078" y="225647"/>
                    </a:cubicBezTo>
                    <a:cubicBezTo>
                      <a:pt x="300041" y="284607"/>
                      <a:pt x="356238" y="271082"/>
                      <a:pt x="394433" y="234410"/>
                    </a:cubicBezTo>
                    <a:cubicBezTo>
                      <a:pt x="459870" y="171260"/>
                      <a:pt x="447964" y="62675"/>
                      <a:pt x="374716" y="9049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iSļíḓè"/>
              <p:cNvSpPr/>
              <p:nvPr/>
            </p:nvSpPr>
            <p:spPr>
              <a:xfrm>
                <a:off x="6311948" y="5732545"/>
                <a:ext cx="194786" cy="196595"/>
              </a:xfrm>
              <a:custGeom>
                <a:avLst/>
                <a:gdLst>
                  <a:gd name="connsiteX0" fmla="*/ 194786 w 194786"/>
                  <a:gd name="connsiteY0" fmla="*/ 0 h 196595"/>
                  <a:gd name="connsiteX1" fmla="*/ 0 w 194786"/>
                  <a:gd name="connsiteY1" fmla="*/ 196596 h 19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6" h="196595">
                    <a:moveTo>
                      <a:pt x="194786" y="0"/>
                    </a:moveTo>
                    <a:lnTo>
                      <a:pt x="0" y="196596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î$1iḋé"/>
              <p:cNvSpPr/>
              <p:nvPr/>
            </p:nvSpPr>
            <p:spPr>
              <a:xfrm>
                <a:off x="7102904" y="5729688"/>
                <a:ext cx="196691" cy="194786"/>
              </a:xfrm>
              <a:custGeom>
                <a:avLst/>
                <a:gdLst>
                  <a:gd name="connsiteX0" fmla="*/ 0 w 196691"/>
                  <a:gd name="connsiteY0" fmla="*/ 0 h 194786"/>
                  <a:gd name="connsiteX1" fmla="*/ 196692 w 196691"/>
                  <a:gd name="connsiteY1" fmla="*/ 194786 h 19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691" h="194786">
                    <a:moveTo>
                      <a:pt x="0" y="0"/>
                    </a:moveTo>
                    <a:lnTo>
                      <a:pt x="196692" y="194786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iṣḷïďe"/>
              <p:cNvSpPr/>
              <p:nvPr/>
            </p:nvSpPr>
            <p:spPr>
              <a:xfrm>
                <a:off x="6535024" y="3424577"/>
                <a:ext cx="497452" cy="396589"/>
              </a:xfrm>
              <a:custGeom>
                <a:avLst/>
                <a:gdLst>
                  <a:gd name="connsiteX0" fmla="*/ 18097 w 497452"/>
                  <a:gd name="connsiteY0" fmla="*/ 229042 h 396589"/>
                  <a:gd name="connsiteX1" fmla="*/ 64675 w 497452"/>
                  <a:gd name="connsiteY1" fmla="*/ 131601 h 396589"/>
                  <a:gd name="connsiteX2" fmla="*/ 0 w 497452"/>
                  <a:gd name="connsiteY2" fmla="*/ 23873 h 396589"/>
                  <a:gd name="connsiteX3" fmla="*/ 95 w 497452"/>
                  <a:gd name="connsiteY3" fmla="*/ 4918 h 396589"/>
                  <a:gd name="connsiteX4" fmla="*/ 72676 w 497452"/>
                  <a:gd name="connsiteY4" fmla="*/ 125791 h 396589"/>
                  <a:gd name="connsiteX5" fmla="*/ 244697 w 497452"/>
                  <a:gd name="connsiteY5" fmla="*/ 124933 h 396589"/>
                  <a:gd name="connsiteX6" fmla="*/ 416719 w 497452"/>
                  <a:gd name="connsiteY6" fmla="*/ 124076 h 396589"/>
                  <a:gd name="connsiteX7" fmla="*/ 488156 w 497452"/>
                  <a:gd name="connsiteY7" fmla="*/ 2442 h 396589"/>
                  <a:gd name="connsiteX8" fmla="*/ 494919 w 497452"/>
                  <a:gd name="connsiteY8" fmla="*/ 632 h 396589"/>
                  <a:gd name="connsiteX9" fmla="*/ 496824 w 497452"/>
                  <a:gd name="connsiteY9" fmla="*/ 7204 h 396589"/>
                  <a:gd name="connsiteX10" fmla="*/ 424815 w 497452"/>
                  <a:gd name="connsiteY10" fmla="*/ 129696 h 396589"/>
                  <a:gd name="connsiteX11" fmla="*/ 472250 w 497452"/>
                  <a:gd name="connsiteY11" fmla="*/ 226756 h 396589"/>
                  <a:gd name="connsiteX12" fmla="*/ 483108 w 497452"/>
                  <a:gd name="connsiteY12" fmla="*/ 181607 h 396589"/>
                  <a:gd name="connsiteX13" fmla="*/ 493490 w 497452"/>
                  <a:gd name="connsiteY13" fmla="*/ 179512 h 396589"/>
                  <a:gd name="connsiteX14" fmla="*/ 475202 w 497452"/>
                  <a:gd name="connsiteY14" fmla="*/ 245425 h 396589"/>
                  <a:gd name="connsiteX15" fmla="*/ 245936 w 497452"/>
                  <a:gd name="connsiteY15" fmla="*/ 396586 h 396589"/>
                  <a:gd name="connsiteX16" fmla="*/ 18479 w 497452"/>
                  <a:gd name="connsiteY16" fmla="*/ 243901 h 396589"/>
                  <a:gd name="connsiteX17" fmla="*/ 1905 w 497452"/>
                  <a:gd name="connsiteY17" fmla="*/ 152937 h 396589"/>
                  <a:gd name="connsiteX18" fmla="*/ 18097 w 497452"/>
                  <a:gd name="connsiteY18" fmla="*/ 229042 h 396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7452" h="396589">
                    <a:moveTo>
                      <a:pt x="18097" y="229042"/>
                    </a:moveTo>
                    <a:cubicBezTo>
                      <a:pt x="46577" y="187894"/>
                      <a:pt x="60293" y="146460"/>
                      <a:pt x="64675" y="131601"/>
                    </a:cubicBezTo>
                    <a:lnTo>
                      <a:pt x="0" y="23873"/>
                    </a:lnTo>
                    <a:lnTo>
                      <a:pt x="95" y="4918"/>
                    </a:lnTo>
                    <a:lnTo>
                      <a:pt x="72676" y="125791"/>
                    </a:lnTo>
                    <a:lnTo>
                      <a:pt x="244697" y="124933"/>
                    </a:lnTo>
                    <a:lnTo>
                      <a:pt x="416719" y="124076"/>
                    </a:lnTo>
                    <a:lnTo>
                      <a:pt x="488156" y="2442"/>
                    </a:lnTo>
                    <a:cubicBezTo>
                      <a:pt x="489490" y="156"/>
                      <a:pt x="492538" y="-701"/>
                      <a:pt x="494919" y="632"/>
                    </a:cubicBezTo>
                    <a:cubicBezTo>
                      <a:pt x="497300" y="1966"/>
                      <a:pt x="498157" y="4918"/>
                      <a:pt x="496824" y="7204"/>
                    </a:cubicBezTo>
                    <a:lnTo>
                      <a:pt x="424815" y="129696"/>
                    </a:lnTo>
                    <a:cubicBezTo>
                      <a:pt x="429292" y="144555"/>
                      <a:pt x="443484" y="185798"/>
                      <a:pt x="472250" y="226756"/>
                    </a:cubicBezTo>
                    <a:cubicBezTo>
                      <a:pt x="475393" y="217326"/>
                      <a:pt x="479488" y="202372"/>
                      <a:pt x="483108" y="181607"/>
                    </a:cubicBezTo>
                    <a:lnTo>
                      <a:pt x="493490" y="179512"/>
                    </a:lnTo>
                    <a:cubicBezTo>
                      <a:pt x="486156" y="223136"/>
                      <a:pt x="480632" y="231994"/>
                      <a:pt x="475202" y="245425"/>
                    </a:cubicBezTo>
                    <a:cubicBezTo>
                      <a:pt x="439198" y="334483"/>
                      <a:pt x="350711" y="396110"/>
                      <a:pt x="245936" y="396586"/>
                    </a:cubicBezTo>
                    <a:cubicBezTo>
                      <a:pt x="141161" y="397063"/>
                      <a:pt x="54578" y="343342"/>
                      <a:pt x="18479" y="243901"/>
                    </a:cubicBezTo>
                    <a:cubicBezTo>
                      <a:pt x="10477" y="221803"/>
                      <a:pt x="95" y="153127"/>
                      <a:pt x="1905" y="152937"/>
                    </a:cubicBezTo>
                    <a:cubicBezTo>
                      <a:pt x="6668" y="190751"/>
                      <a:pt x="13430" y="215421"/>
                      <a:pt x="18097" y="229042"/>
                    </a:cubicBez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i$ḻiḍé"/>
              <p:cNvSpPr/>
              <p:nvPr/>
            </p:nvSpPr>
            <p:spPr>
              <a:xfrm>
                <a:off x="6501487" y="3056205"/>
                <a:ext cx="559296" cy="391947"/>
              </a:xfrm>
              <a:custGeom>
                <a:avLst/>
                <a:gdLst>
                  <a:gd name="connsiteX0" fmla="*/ 545697 w 559296"/>
                  <a:gd name="connsiteY0" fmla="*/ 361289 h 391947"/>
                  <a:gd name="connsiteX1" fmla="*/ 498262 w 559296"/>
                  <a:gd name="connsiteY1" fmla="*/ 388721 h 391947"/>
                  <a:gd name="connsiteX2" fmla="*/ 277568 w 559296"/>
                  <a:gd name="connsiteY2" fmla="*/ 179171 h 391947"/>
                  <a:gd name="connsiteX3" fmla="*/ 14583 w 559296"/>
                  <a:gd name="connsiteY3" fmla="*/ 325380 h 391947"/>
                  <a:gd name="connsiteX4" fmla="*/ 269376 w 559296"/>
                  <a:gd name="connsiteY4" fmla="*/ 6 h 391947"/>
                  <a:gd name="connsiteX5" fmla="*/ 545697 w 559296"/>
                  <a:gd name="connsiteY5" fmla="*/ 361289 h 391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9296" h="391947">
                    <a:moveTo>
                      <a:pt x="545697" y="361289"/>
                    </a:moveTo>
                    <a:cubicBezTo>
                      <a:pt x="545697" y="361289"/>
                      <a:pt x="532647" y="403770"/>
                      <a:pt x="498262" y="388721"/>
                    </a:cubicBezTo>
                    <a:cubicBezTo>
                      <a:pt x="463877" y="373671"/>
                      <a:pt x="467687" y="190029"/>
                      <a:pt x="277568" y="179171"/>
                    </a:cubicBezTo>
                    <a:cubicBezTo>
                      <a:pt x="205940" y="344620"/>
                      <a:pt x="58112" y="368528"/>
                      <a:pt x="14583" y="325380"/>
                    </a:cubicBezTo>
                    <a:cubicBezTo>
                      <a:pt x="-28947" y="282231"/>
                      <a:pt x="16297" y="1244"/>
                      <a:pt x="269376" y="6"/>
                    </a:cubicBezTo>
                    <a:cubicBezTo>
                      <a:pt x="522551" y="-1233"/>
                      <a:pt x="592560" y="202126"/>
                      <a:pt x="545697" y="361289"/>
                    </a:cubicBez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45" name="í$ľíḍé"/>
          <p:cNvSpPr/>
          <p:nvPr userDrawn="1"/>
        </p:nvSpPr>
        <p:spPr>
          <a:xfrm>
            <a:off x="0" y="2096569"/>
            <a:ext cx="12192000" cy="476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034584" y="3381943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035700" y="4277293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 userDrawn="1"/>
        </p:nvGrpSpPr>
        <p:grpSpPr>
          <a:xfrm>
            <a:off x="2879186" y="552451"/>
            <a:ext cx="6988581" cy="3440667"/>
            <a:chOff x="459836" y="462258"/>
            <a:chExt cx="11526927" cy="5675017"/>
          </a:xfrm>
        </p:grpSpPr>
        <p:grpSp>
          <p:nvGrpSpPr>
            <p:cNvPr id="7" name="图形 278"/>
            <p:cNvGrpSpPr/>
            <p:nvPr userDrawn="1"/>
          </p:nvGrpSpPr>
          <p:grpSpPr>
            <a:xfrm>
              <a:off x="4770226" y="462258"/>
              <a:ext cx="2170035" cy="4673081"/>
              <a:chOff x="4178322" y="3153106"/>
              <a:chExt cx="1559976" cy="3359345"/>
            </a:xfrm>
            <a:solidFill>
              <a:schemeClr val="accent1"/>
            </a:solidFill>
          </p:grpSpPr>
          <p:sp>
            <p:nvSpPr>
              <p:cNvPr id="208" name="îṥļîdé"/>
              <p:cNvSpPr/>
              <p:nvPr/>
            </p:nvSpPr>
            <p:spPr>
              <a:xfrm>
                <a:off x="4466003" y="6436347"/>
                <a:ext cx="1157001" cy="76104"/>
              </a:xfrm>
              <a:custGeom>
                <a:avLst/>
                <a:gdLst>
                  <a:gd name="connsiteX0" fmla="*/ 0 w 1157001"/>
                  <a:gd name="connsiteY0" fmla="*/ 0 h 76104"/>
                  <a:gd name="connsiteX1" fmla="*/ 0 w 1157001"/>
                  <a:gd name="connsiteY1" fmla="*/ 76105 h 76104"/>
                  <a:gd name="connsiteX2" fmla="*/ 1157002 w 1157001"/>
                  <a:gd name="connsiteY2" fmla="*/ 76105 h 76104"/>
                  <a:gd name="connsiteX3" fmla="*/ 1156049 w 1157001"/>
                  <a:gd name="connsiteY3" fmla="*/ 0 h 761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57001" h="76104">
                    <a:moveTo>
                      <a:pt x="0" y="0"/>
                    </a:moveTo>
                    <a:lnTo>
                      <a:pt x="0" y="76105"/>
                    </a:lnTo>
                    <a:lnTo>
                      <a:pt x="1157002" y="76105"/>
                    </a:lnTo>
                    <a:lnTo>
                      <a:pt x="115604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9" name="îsľîḑè"/>
              <p:cNvSpPr/>
              <p:nvPr/>
            </p:nvSpPr>
            <p:spPr>
              <a:xfrm>
                <a:off x="4190159" y="4043777"/>
                <a:ext cx="719804" cy="896287"/>
              </a:xfrm>
              <a:custGeom>
                <a:avLst/>
                <a:gdLst>
                  <a:gd name="connsiteX0" fmla="*/ 0 w 719804"/>
                  <a:gd name="connsiteY0" fmla="*/ 782083 h 896287"/>
                  <a:gd name="connsiteX1" fmla="*/ 18574 w 719804"/>
                  <a:gd name="connsiteY1" fmla="*/ 785702 h 896287"/>
                  <a:gd name="connsiteX2" fmla="*/ 408622 w 719804"/>
                  <a:gd name="connsiteY2" fmla="*/ 861140 h 896287"/>
                  <a:gd name="connsiteX3" fmla="*/ 590169 w 719804"/>
                  <a:gd name="connsiteY3" fmla="*/ 896288 h 896287"/>
                  <a:gd name="connsiteX4" fmla="*/ 719804 w 719804"/>
                  <a:gd name="connsiteY4" fmla="*/ 366 h 896287"/>
                  <a:gd name="connsiteX5" fmla="*/ 0 w 719804"/>
                  <a:gd name="connsiteY5" fmla="*/ 782083 h 896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719804" h="896287">
                    <a:moveTo>
                      <a:pt x="0" y="782083"/>
                    </a:moveTo>
                    <a:lnTo>
                      <a:pt x="18574" y="785702"/>
                    </a:lnTo>
                    <a:lnTo>
                      <a:pt x="408622" y="861140"/>
                    </a:lnTo>
                    <a:lnTo>
                      <a:pt x="590169" y="896288"/>
                    </a:lnTo>
                    <a:lnTo>
                      <a:pt x="719804" y="366"/>
                    </a:lnTo>
                    <a:cubicBezTo>
                      <a:pt x="719804" y="271"/>
                      <a:pt x="55054" y="-40972"/>
                      <a:pt x="0" y="782083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0" name="i$liḓé"/>
              <p:cNvSpPr/>
              <p:nvPr/>
            </p:nvSpPr>
            <p:spPr>
              <a:xfrm>
                <a:off x="4439333" y="4029665"/>
                <a:ext cx="1205770" cy="2434970"/>
              </a:xfrm>
              <a:custGeom>
                <a:avLst/>
                <a:gdLst>
                  <a:gd name="connsiteX0" fmla="*/ 0 w 1205770"/>
                  <a:gd name="connsiteY0" fmla="*/ 2434971 h 2434970"/>
                  <a:gd name="connsiteX1" fmla="*/ 121920 w 1205770"/>
                  <a:gd name="connsiteY1" fmla="*/ 170783 h 2434970"/>
                  <a:gd name="connsiteX2" fmla="*/ 649796 w 1205770"/>
                  <a:gd name="connsiteY2" fmla="*/ 0 h 2434970"/>
                  <a:gd name="connsiteX3" fmla="*/ 1149954 w 1205770"/>
                  <a:gd name="connsiteY3" fmla="*/ 605123 h 2434970"/>
                  <a:gd name="connsiteX4" fmla="*/ 1205770 w 1205770"/>
                  <a:gd name="connsiteY4" fmla="*/ 2434876 h 2434970"/>
                  <a:gd name="connsiteX5" fmla="*/ 0 w 1205770"/>
                  <a:gd name="connsiteY5" fmla="*/ 2434876 h 24349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5770" h="2434970">
                    <a:moveTo>
                      <a:pt x="0" y="2434971"/>
                    </a:moveTo>
                    <a:lnTo>
                      <a:pt x="121920" y="170783"/>
                    </a:lnTo>
                    <a:cubicBezTo>
                      <a:pt x="121920" y="170783"/>
                      <a:pt x="275368" y="0"/>
                      <a:pt x="649796" y="0"/>
                    </a:cubicBezTo>
                    <a:cubicBezTo>
                      <a:pt x="1024224" y="0"/>
                      <a:pt x="1149954" y="292799"/>
                      <a:pt x="1149954" y="605123"/>
                    </a:cubicBezTo>
                    <a:cubicBezTo>
                      <a:pt x="1149954" y="917448"/>
                      <a:pt x="1205770" y="2434876"/>
                      <a:pt x="1205770" y="2434876"/>
                    </a:cubicBezTo>
                    <a:lnTo>
                      <a:pt x="0" y="2434876"/>
                    </a:ln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11" name="图形 278"/>
              <p:cNvGrpSpPr/>
              <p:nvPr/>
            </p:nvGrpSpPr>
            <p:grpSpPr>
              <a:xfrm>
                <a:off x="4754992" y="3998900"/>
                <a:ext cx="444341" cy="867441"/>
                <a:chOff x="4754992" y="3998900"/>
                <a:chExt cx="444341" cy="867441"/>
              </a:xfrm>
              <a:solidFill>
                <a:schemeClr val="accent1"/>
              </a:solidFill>
            </p:grpSpPr>
            <p:sp>
              <p:nvSpPr>
                <p:cNvPr id="238" name="í$ḷiḍê"/>
                <p:cNvSpPr/>
                <p:nvPr/>
              </p:nvSpPr>
              <p:spPr>
                <a:xfrm>
                  <a:off x="4754992" y="3998900"/>
                  <a:ext cx="444341" cy="699134"/>
                </a:xfrm>
                <a:custGeom>
                  <a:avLst/>
                  <a:gdLst>
                    <a:gd name="connsiteX0" fmla="*/ 220980 w 444341"/>
                    <a:gd name="connsiteY0" fmla="*/ 0 h 699134"/>
                    <a:gd name="connsiteX1" fmla="*/ 220980 w 444341"/>
                    <a:gd name="connsiteY1" fmla="*/ 0 h 699134"/>
                    <a:gd name="connsiteX2" fmla="*/ 0 w 444341"/>
                    <a:gd name="connsiteY2" fmla="*/ 201549 h 699134"/>
                    <a:gd name="connsiteX3" fmla="*/ 223361 w 444341"/>
                    <a:gd name="connsiteY3" fmla="*/ 699135 h 699134"/>
                    <a:gd name="connsiteX4" fmla="*/ 444341 w 444341"/>
                    <a:gd name="connsiteY4" fmla="*/ 201549 h 699134"/>
                    <a:gd name="connsiteX5" fmla="*/ 220980 w 444341"/>
                    <a:gd name="connsiteY5" fmla="*/ 0 h 699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341" h="699134">
                      <a:moveTo>
                        <a:pt x="220980" y="0"/>
                      </a:moveTo>
                      <a:lnTo>
                        <a:pt x="220980" y="0"/>
                      </a:lnTo>
                      <a:cubicBezTo>
                        <a:pt x="197739" y="952"/>
                        <a:pt x="0" y="14383"/>
                        <a:pt x="0" y="201549"/>
                      </a:cubicBezTo>
                      <a:cubicBezTo>
                        <a:pt x="0" y="388525"/>
                        <a:pt x="199739" y="671798"/>
                        <a:pt x="223361" y="699135"/>
                      </a:cubicBezTo>
                      <a:cubicBezTo>
                        <a:pt x="247079" y="671893"/>
                        <a:pt x="444341" y="388525"/>
                        <a:pt x="444341" y="201549"/>
                      </a:cubicBezTo>
                      <a:cubicBezTo>
                        <a:pt x="444341" y="14383"/>
                        <a:pt x="244221" y="952"/>
                        <a:pt x="220980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9" name="íslíḑe"/>
                <p:cNvSpPr/>
                <p:nvPr/>
              </p:nvSpPr>
              <p:spPr>
                <a:xfrm>
                  <a:off x="4853480" y="4718323"/>
                  <a:ext cx="247364" cy="148018"/>
                </a:xfrm>
                <a:custGeom>
                  <a:avLst/>
                  <a:gdLst>
                    <a:gd name="connsiteX0" fmla="*/ 0 w 247364"/>
                    <a:gd name="connsiteY0" fmla="*/ 0 h 148018"/>
                    <a:gd name="connsiteX1" fmla="*/ 247364 w 247364"/>
                    <a:gd name="connsiteY1" fmla="*/ 0 h 148018"/>
                    <a:gd name="connsiteX2" fmla="*/ 247364 w 247364"/>
                    <a:gd name="connsiteY2" fmla="*/ 148018 h 148018"/>
                    <a:gd name="connsiteX3" fmla="*/ 0 w 247364"/>
                    <a:gd name="connsiteY3" fmla="*/ 148018 h 14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4" h="148018">
                      <a:moveTo>
                        <a:pt x="0" y="0"/>
                      </a:moveTo>
                      <a:lnTo>
                        <a:pt x="247364" y="0"/>
                      </a:lnTo>
                      <a:lnTo>
                        <a:pt x="247364" y="148018"/>
                      </a:lnTo>
                      <a:lnTo>
                        <a:pt x="0" y="1480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0" name="íŝḻíďé"/>
                <p:cNvSpPr/>
                <p:nvPr/>
              </p:nvSpPr>
              <p:spPr>
                <a:xfrm>
                  <a:off x="4978353" y="4698035"/>
                  <a:ext cx="9525" cy="40481"/>
                </a:xfrm>
                <a:custGeom>
                  <a:avLst/>
                  <a:gdLst>
                    <a:gd name="connsiteX0" fmla="*/ 0 w 9525"/>
                    <a:gd name="connsiteY0" fmla="*/ 0 h 40481"/>
                    <a:gd name="connsiteX1" fmla="*/ 0 w 9525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0481">
                      <a:moveTo>
                        <a:pt x="0" y="0"/>
                      </a:moveTo>
                      <a:lnTo>
                        <a:pt x="0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1" name="iṥľíḓe"/>
                <p:cNvSpPr/>
                <p:nvPr/>
              </p:nvSpPr>
              <p:spPr>
                <a:xfrm>
                  <a:off x="4880912" y="4757471"/>
                  <a:ext cx="56197" cy="56197"/>
                </a:xfrm>
                <a:custGeom>
                  <a:avLst/>
                  <a:gdLst>
                    <a:gd name="connsiteX0" fmla="*/ 0 w 56197"/>
                    <a:gd name="connsiteY0" fmla="*/ 0 h 56197"/>
                    <a:gd name="connsiteX1" fmla="*/ 56197 w 56197"/>
                    <a:gd name="connsiteY1" fmla="*/ 0 h 56197"/>
                    <a:gd name="connsiteX2" fmla="*/ 56197 w 56197"/>
                    <a:gd name="connsiteY2" fmla="*/ 56197 h 56197"/>
                    <a:gd name="connsiteX3" fmla="*/ 0 w 56197"/>
                    <a:gd name="connsiteY3" fmla="*/ 56197 h 56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56197">
                      <a:moveTo>
                        <a:pt x="0" y="0"/>
                      </a:moveTo>
                      <a:lnTo>
                        <a:pt x="56197" y="0"/>
                      </a:lnTo>
                      <a:lnTo>
                        <a:pt x="56197" y="56197"/>
                      </a:lnTo>
                      <a:lnTo>
                        <a:pt x="0" y="56197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2" name="íSļiḋè"/>
                <p:cNvSpPr/>
                <p:nvPr/>
              </p:nvSpPr>
              <p:spPr>
                <a:xfrm>
                  <a:off x="4965590" y="4757471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3" name="ïšḻíḑê"/>
                <p:cNvSpPr/>
                <p:nvPr/>
              </p:nvSpPr>
              <p:spPr>
                <a:xfrm>
                  <a:off x="4965590" y="4780998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4" name="ïṩlïḍê"/>
                <p:cNvSpPr/>
                <p:nvPr/>
              </p:nvSpPr>
              <p:spPr>
                <a:xfrm>
                  <a:off x="4965590" y="4804429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5" name="íśľíḋê"/>
                <p:cNvSpPr/>
                <p:nvPr/>
              </p:nvSpPr>
              <p:spPr>
                <a:xfrm>
                  <a:off x="4965590" y="4827956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46" name="íŝľîde"/>
                <p:cNvSpPr/>
                <p:nvPr/>
              </p:nvSpPr>
              <p:spPr>
                <a:xfrm>
                  <a:off x="4880912" y="4827956"/>
                  <a:ext cx="56197" cy="9144"/>
                </a:xfrm>
                <a:custGeom>
                  <a:avLst/>
                  <a:gdLst>
                    <a:gd name="connsiteX0" fmla="*/ 0 w 56197"/>
                    <a:gd name="connsiteY0" fmla="*/ 0 h 9144"/>
                    <a:gd name="connsiteX1" fmla="*/ 56197 w 56197"/>
                    <a:gd name="connsiteY1" fmla="*/ 0 h 9144"/>
                    <a:gd name="connsiteX2" fmla="*/ 56197 w 56197"/>
                    <a:gd name="connsiteY2" fmla="*/ 9144 h 9144"/>
                    <a:gd name="connsiteX3" fmla="*/ 0 w 56197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9144">
                      <a:moveTo>
                        <a:pt x="0" y="0"/>
                      </a:moveTo>
                      <a:lnTo>
                        <a:pt x="56197" y="0"/>
                      </a:lnTo>
                      <a:lnTo>
                        <a:pt x="561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2" name="ísľîḓè"/>
              <p:cNvSpPr/>
              <p:nvPr/>
            </p:nvSpPr>
            <p:spPr>
              <a:xfrm>
                <a:off x="4850451" y="4638027"/>
                <a:ext cx="851496" cy="914304"/>
              </a:xfrm>
              <a:custGeom>
                <a:avLst/>
                <a:gdLst>
                  <a:gd name="connsiteX0" fmla="*/ 610629 w 851496"/>
                  <a:gd name="connsiteY0" fmla="*/ 914305 h 914304"/>
                  <a:gd name="connsiteX1" fmla="*/ 71704 w 851496"/>
                  <a:gd name="connsiteY1" fmla="*/ 914305 h 914304"/>
                  <a:gd name="connsiteX2" fmla="*/ 1696 w 851496"/>
                  <a:gd name="connsiteY2" fmla="*/ 827246 h 914304"/>
                  <a:gd name="connsiteX3" fmla="*/ 170859 w 851496"/>
                  <a:gd name="connsiteY3" fmla="*/ 56293 h 914304"/>
                  <a:gd name="connsiteX4" fmla="*/ 240868 w 851496"/>
                  <a:gd name="connsiteY4" fmla="*/ 0 h 914304"/>
                  <a:gd name="connsiteX5" fmla="*/ 779793 w 851496"/>
                  <a:gd name="connsiteY5" fmla="*/ 0 h 914304"/>
                  <a:gd name="connsiteX6" fmla="*/ 849801 w 851496"/>
                  <a:gd name="connsiteY6" fmla="*/ 87058 h 914304"/>
                  <a:gd name="connsiteX7" fmla="*/ 680637 w 851496"/>
                  <a:gd name="connsiteY7" fmla="*/ 858012 h 914304"/>
                  <a:gd name="connsiteX8" fmla="*/ 610629 w 851496"/>
                  <a:gd name="connsiteY8" fmla="*/ 914305 h 91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496" h="914304">
                    <a:moveTo>
                      <a:pt x="610629" y="914305"/>
                    </a:moveTo>
                    <a:lnTo>
                      <a:pt x="71704" y="914305"/>
                    </a:lnTo>
                    <a:cubicBezTo>
                      <a:pt x="25889" y="914305"/>
                      <a:pt x="-8115" y="871918"/>
                      <a:pt x="1696" y="827246"/>
                    </a:cubicBezTo>
                    <a:lnTo>
                      <a:pt x="170859" y="56293"/>
                    </a:lnTo>
                    <a:cubicBezTo>
                      <a:pt x="178098" y="23431"/>
                      <a:pt x="207245" y="0"/>
                      <a:pt x="240868" y="0"/>
                    </a:cubicBezTo>
                    <a:lnTo>
                      <a:pt x="779793" y="0"/>
                    </a:lnTo>
                    <a:cubicBezTo>
                      <a:pt x="825608" y="0"/>
                      <a:pt x="859612" y="42386"/>
                      <a:pt x="849801" y="87058"/>
                    </a:cubicBezTo>
                    <a:lnTo>
                      <a:pt x="680637" y="858012"/>
                    </a:lnTo>
                    <a:cubicBezTo>
                      <a:pt x="673398" y="890778"/>
                      <a:pt x="644252" y="914305"/>
                      <a:pt x="610629" y="914305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3" name="i$ḻïḑê"/>
              <p:cNvSpPr/>
              <p:nvPr/>
            </p:nvSpPr>
            <p:spPr>
              <a:xfrm>
                <a:off x="4178322" y="4829385"/>
                <a:ext cx="896899" cy="621601"/>
              </a:xfrm>
              <a:custGeom>
                <a:avLst/>
                <a:gdLst>
                  <a:gd name="connsiteX0" fmla="*/ 319494 w 896899"/>
                  <a:gd name="connsiteY0" fmla="*/ 332899 h 621601"/>
                  <a:gd name="connsiteX1" fmla="*/ 420459 w 896899"/>
                  <a:gd name="connsiteY1" fmla="*/ 75438 h 621601"/>
                  <a:gd name="connsiteX2" fmla="*/ 30410 w 896899"/>
                  <a:gd name="connsiteY2" fmla="*/ 0 h 621601"/>
                  <a:gd name="connsiteX3" fmla="*/ 178524 w 896899"/>
                  <a:gd name="connsiteY3" fmla="*/ 621601 h 621601"/>
                  <a:gd name="connsiteX4" fmla="*/ 896900 w 896899"/>
                  <a:gd name="connsiteY4" fmla="*/ 574643 h 621601"/>
                  <a:gd name="connsiteX5" fmla="*/ 896900 w 896899"/>
                  <a:gd name="connsiteY5" fmla="*/ 393383 h 621601"/>
                  <a:gd name="connsiteX6" fmla="*/ 319494 w 896899"/>
                  <a:gd name="connsiteY6" fmla="*/ 332899 h 621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899" h="621601">
                    <a:moveTo>
                      <a:pt x="319494" y="332899"/>
                    </a:moveTo>
                    <a:cubicBezTo>
                      <a:pt x="319494" y="332899"/>
                      <a:pt x="362643" y="228219"/>
                      <a:pt x="420459" y="75438"/>
                    </a:cubicBezTo>
                    <a:lnTo>
                      <a:pt x="30410" y="0"/>
                    </a:lnTo>
                    <a:cubicBezTo>
                      <a:pt x="-37884" y="502253"/>
                      <a:pt x="7741" y="621601"/>
                      <a:pt x="178524" y="621601"/>
                    </a:cubicBezTo>
                    <a:cubicBezTo>
                      <a:pt x="359785" y="621601"/>
                      <a:pt x="896900" y="574643"/>
                      <a:pt x="896900" y="574643"/>
                    </a:cubicBezTo>
                    <a:lnTo>
                      <a:pt x="896900" y="393383"/>
                    </a:lnTo>
                    <a:lnTo>
                      <a:pt x="319494" y="332899"/>
                    </a:ln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14" name="图形 278"/>
              <p:cNvGrpSpPr/>
              <p:nvPr/>
            </p:nvGrpSpPr>
            <p:grpSpPr>
              <a:xfrm>
                <a:off x="4664028" y="3283858"/>
                <a:ext cx="559879" cy="962691"/>
                <a:chOff x="4664028" y="3283858"/>
                <a:chExt cx="559879" cy="962691"/>
              </a:xfrm>
              <a:solidFill>
                <a:schemeClr val="accent1"/>
              </a:solidFill>
            </p:grpSpPr>
            <p:sp>
              <p:nvSpPr>
                <p:cNvPr id="224" name="íS1iḍè"/>
                <p:cNvSpPr/>
                <p:nvPr/>
              </p:nvSpPr>
              <p:spPr>
                <a:xfrm>
                  <a:off x="4832811" y="3854596"/>
                  <a:ext cx="288703" cy="391953"/>
                </a:xfrm>
                <a:custGeom>
                  <a:avLst/>
                  <a:gdLst>
                    <a:gd name="connsiteX0" fmla="*/ 144304 w 288703"/>
                    <a:gd name="connsiteY0" fmla="*/ 391954 h 391953"/>
                    <a:gd name="connsiteX1" fmla="*/ 144304 w 288703"/>
                    <a:gd name="connsiteY1" fmla="*/ 391954 h 391953"/>
                    <a:gd name="connsiteX2" fmla="*/ 0 w 288703"/>
                    <a:gd name="connsiteY2" fmla="*/ 247650 h 391953"/>
                    <a:gd name="connsiteX3" fmla="*/ 0 w 288703"/>
                    <a:gd name="connsiteY3" fmla="*/ 0 h 391953"/>
                    <a:gd name="connsiteX4" fmla="*/ 288703 w 288703"/>
                    <a:gd name="connsiteY4" fmla="*/ 0 h 391953"/>
                    <a:gd name="connsiteX5" fmla="*/ 288703 w 288703"/>
                    <a:gd name="connsiteY5" fmla="*/ 247650 h 391953"/>
                    <a:gd name="connsiteX6" fmla="*/ 144304 w 288703"/>
                    <a:gd name="connsiteY6" fmla="*/ 391954 h 39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8703" h="391953">
                      <a:moveTo>
                        <a:pt x="144304" y="391954"/>
                      </a:moveTo>
                      <a:lnTo>
                        <a:pt x="144304" y="391954"/>
                      </a:lnTo>
                      <a:cubicBezTo>
                        <a:pt x="64580" y="391954"/>
                        <a:pt x="0" y="327374"/>
                        <a:pt x="0" y="247650"/>
                      </a:cubicBezTo>
                      <a:lnTo>
                        <a:pt x="0" y="0"/>
                      </a:lnTo>
                      <a:lnTo>
                        <a:pt x="288703" y="0"/>
                      </a:lnTo>
                      <a:lnTo>
                        <a:pt x="288703" y="247650"/>
                      </a:lnTo>
                      <a:cubicBezTo>
                        <a:pt x="288703" y="327279"/>
                        <a:pt x="224028" y="391954"/>
                        <a:pt x="144304" y="391954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5" name="íṡ1íďè"/>
                <p:cNvSpPr/>
                <p:nvPr/>
              </p:nvSpPr>
              <p:spPr>
                <a:xfrm>
                  <a:off x="4733846" y="3283858"/>
                  <a:ext cx="490061" cy="663511"/>
                </a:xfrm>
                <a:custGeom>
                  <a:avLst/>
                  <a:gdLst>
                    <a:gd name="connsiteX0" fmla="*/ 490061 w 490061"/>
                    <a:gd name="connsiteY0" fmla="*/ 376523 h 663511"/>
                    <a:gd name="connsiteX1" fmla="*/ 268510 w 490061"/>
                    <a:gd name="connsiteY1" fmla="*/ 663512 h 663511"/>
                    <a:gd name="connsiteX2" fmla="*/ 0 w 490061"/>
                    <a:gd name="connsiteY2" fmla="*/ 376523 h 663511"/>
                    <a:gd name="connsiteX3" fmla="*/ 245078 w 490061"/>
                    <a:gd name="connsiteY3" fmla="*/ 0 h 663511"/>
                    <a:gd name="connsiteX4" fmla="*/ 490061 w 490061"/>
                    <a:gd name="connsiteY4" fmla="*/ 376523 h 663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061" h="663511">
                      <a:moveTo>
                        <a:pt x="490061" y="376523"/>
                      </a:moveTo>
                      <a:cubicBezTo>
                        <a:pt x="490061" y="560070"/>
                        <a:pt x="403860" y="663512"/>
                        <a:pt x="268510" y="663512"/>
                      </a:cubicBezTo>
                      <a:cubicBezTo>
                        <a:pt x="133160" y="663512"/>
                        <a:pt x="0" y="560070"/>
                        <a:pt x="0" y="376523"/>
                      </a:cubicBezTo>
                      <a:cubicBezTo>
                        <a:pt x="0" y="192977"/>
                        <a:pt x="0" y="0"/>
                        <a:pt x="245078" y="0"/>
                      </a:cubicBezTo>
                      <a:cubicBezTo>
                        <a:pt x="490061" y="0"/>
                        <a:pt x="490061" y="192977"/>
                        <a:pt x="490061" y="37652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6" name="îsḻîḓé"/>
                <p:cNvSpPr/>
                <p:nvPr/>
              </p:nvSpPr>
              <p:spPr>
                <a:xfrm>
                  <a:off x="4664028" y="3577744"/>
                  <a:ext cx="95154" cy="171505"/>
                </a:xfrm>
                <a:custGeom>
                  <a:avLst/>
                  <a:gdLst>
                    <a:gd name="connsiteX0" fmla="*/ 0 w 95154"/>
                    <a:gd name="connsiteY0" fmla="*/ 67778 h 171505"/>
                    <a:gd name="connsiteX1" fmla="*/ 95155 w 95154"/>
                    <a:gd name="connsiteY1" fmla="*/ 171505 h 171505"/>
                    <a:gd name="connsiteX2" fmla="*/ 95155 w 95154"/>
                    <a:gd name="connsiteY2" fmla="*/ 5484 h 171505"/>
                    <a:gd name="connsiteX3" fmla="*/ 0 w 95154"/>
                    <a:gd name="connsiteY3" fmla="*/ 67778 h 171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154" h="171505">
                      <a:moveTo>
                        <a:pt x="0" y="67778"/>
                      </a:moveTo>
                      <a:cubicBezTo>
                        <a:pt x="0" y="162933"/>
                        <a:pt x="95155" y="171505"/>
                        <a:pt x="95155" y="171505"/>
                      </a:cubicBezTo>
                      <a:lnTo>
                        <a:pt x="95155" y="5484"/>
                      </a:lnTo>
                      <a:cubicBezTo>
                        <a:pt x="95155" y="5484"/>
                        <a:pt x="0" y="-27377"/>
                        <a:pt x="0" y="6777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7" name="iSḷîďè"/>
                <p:cNvSpPr/>
                <p:nvPr/>
              </p:nvSpPr>
              <p:spPr>
                <a:xfrm>
                  <a:off x="4696032" y="3617389"/>
                  <a:ext cx="45815" cy="92236"/>
                </a:xfrm>
                <a:custGeom>
                  <a:avLst/>
                  <a:gdLst>
                    <a:gd name="connsiteX0" fmla="*/ 0 w 45815"/>
                    <a:gd name="connsiteY0" fmla="*/ 36420 h 92236"/>
                    <a:gd name="connsiteX1" fmla="*/ 45815 w 45815"/>
                    <a:gd name="connsiteY1" fmla="*/ 92236 h 92236"/>
                    <a:gd name="connsiteX2" fmla="*/ 45815 w 45815"/>
                    <a:gd name="connsiteY2" fmla="*/ 2892 h 92236"/>
                    <a:gd name="connsiteX3" fmla="*/ 0 w 45815"/>
                    <a:gd name="connsiteY3" fmla="*/ 36420 h 922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815" h="92236">
                      <a:moveTo>
                        <a:pt x="0" y="36420"/>
                      </a:moveTo>
                      <a:cubicBezTo>
                        <a:pt x="0" y="87569"/>
                        <a:pt x="45815" y="92236"/>
                        <a:pt x="45815" y="92236"/>
                      </a:cubicBezTo>
                      <a:lnTo>
                        <a:pt x="45815" y="2892"/>
                      </a:lnTo>
                      <a:cubicBezTo>
                        <a:pt x="45815" y="2987"/>
                        <a:pt x="0" y="-14730"/>
                        <a:pt x="0" y="3642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8" name="íṩḷïḑe"/>
                <p:cNvSpPr/>
                <p:nvPr/>
              </p:nvSpPr>
              <p:spPr>
                <a:xfrm>
                  <a:off x="4853861" y="3575799"/>
                  <a:ext cx="66484" cy="49530"/>
                </a:xfrm>
                <a:custGeom>
                  <a:avLst/>
                  <a:gdLst>
                    <a:gd name="connsiteX0" fmla="*/ 66484 w 66484"/>
                    <a:gd name="connsiteY0" fmla="*/ 24765 h 49530"/>
                    <a:gd name="connsiteX1" fmla="*/ 33242 w 66484"/>
                    <a:gd name="connsiteY1" fmla="*/ 49530 h 49530"/>
                    <a:gd name="connsiteX2" fmla="*/ 0 w 66484"/>
                    <a:gd name="connsiteY2" fmla="*/ 24765 h 49530"/>
                    <a:gd name="connsiteX3" fmla="*/ 33242 w 66484"/>
                    <a:gd name="connsiteY3" fmla="*/ 0 h 49530"/>
                    <a:gd name="connsiteX4" fmla="*/ 66484 w 66484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30">
                      <a:moveTo>
                        <a:pt x="66484" y="24765"/>
                      </a:moveTo>
                      <a:cubicBezTo>
                        <a:pt x="66484" y="38442"/>
                        <a:pt x="51601" y="49530"/>
                        <a:pt x="33242" y="49530"/>
                      </a:cubicBezTo>
                      <a:cubicBezTo>
                        <a:pt x="14883" y="49530"/>
                        <a:pt x="0" y="38442"/>
                        <a:pt x="0" y="24765"/>
                      </a:cubicBezTo>
                      <a:cubicBezTo>
                        <a:pt x="0" y="11088"/>
                        <a:pt x="14883" y="0"/>
                        <a:pt x="33242" y="0"/>
                      </a:cubicBezTo>
                      <a:cubicBezTo>
                        <a:pt x="51601" y="0"/>
                        <a:pt x="66484" y="11088"/>
                        <a:pt x="66484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29" name="iṩḷîďe"/>
                <p:cNvSpPr/>
                <p:nvPr/>
              </p:nvSpPr>
              <p:spPr>
                <a:xfrm>
                  <a:off x="5088272" y="3575799"/>
                  <a:ext cx="66484" cy="49530"/>
                </a:xfrm>
                <a:custGeom>
                  <a:avLst/>
                  <a:gdLst>
                    <a:gd name="connsiteX0" fmla="*/ 66485 w 66484"/>
                    <a:gd name="connsiteY0" fmla="*/ 24765 h 49530"/>
                    <a:gd name="connsiteX1" fmla="*/ 33242 w 66484"/>
                    <a:gd name="connsiteY1" fmla="*/ 49530 h 49530"/>
                    <a:gd name="connsiteX2" fmla="*/ 0 w 66484"/>
                    <a:gd name="connsiteY2" fmla="*/ 24765 h 49530"/>
                    <a:gd name="connsiteX3" fmla="*/ 33242 w 66484"/>
                    <a:gd name="connsiteY3" fmla="*/ 0 h 49530"/>
                    <a:gd name="connsiteX4" fmla="*/ 66485 w 66484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30">
                      <a:moveTo>
                        <a:pt x="66485" y="24765"/>
                      </a:moveTo>
                      <a:cubicBezTo>
                        <a:pt x="66485" y="38442"/>
                        <a:pt x="51601" y="49530"/>
                        <a:pt x="33242" y="49530"/>
                      </a:cubicBezTo>
                      <a:cubicBezTo>
                        <a:pt x="14883" y="49530"/>
                        <a:pt x="0" y="38442"/>
                        <a:pt x="0" y="24765"/>
                      </a:cubicBezTo>
                      <a:cubicBezTo>
                        <a:pt x="0" y="11088"/>
                        <a:pt x="14883" y="0"/>
                        <a:pt x="33242" y="0"/>
                      </a:cubicBezTo>
                      <a:cubicBezTo>
                        <a:pt x="51601" y="0"/>
                        <a:pt x="66485" y="11088"/>
                        <a:pt x="66485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0" name="ïṡľïḍé"/>
                <p:cNvSpPr/>
                <p:nvPr/>
              </p:nvSpPr>
              <p:spPr>
                <a:xfrm>
                  <a:off x="4878150" y="3580752"/>
                  <a:ext cx="39624" cy="39623"/>
                </a:xfrm>
                <a:custGeom>
                  <a:avLst/>
                  <a:gdLst>
                    <a:gd name="connsiteX0" fmla="*/ 0 w 39624"/>
                    <a:gd name="connsiteY0" fmla="*/ 19812 h 39623"/>
                    <a:gd name="connsiteX1" fmla="*/ 19812 w 39624"/>
                    <a:gd name="connsiteY1" fmla="*/ 39624 h 39623"/>
                    <a:gd name="connsiteX2" fmla="*/ 39624 w 39624"/>
                    <a:gd name="connsiteY2" fmla="*/ 19812 h 39623"/>
                    <a:gd name="connsiteX3" fmla="*/ 19812 w 39624"/>
                    <a:gd name="connsiteY3" fmla="*/ 0 h 39623"/>
                    <a:gd name="connsiteX4" fmla="*/ 0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0" y="19812"/>
                      </a:moveTo>
                      <a:cubicBezTo>
                        <a:pt x="0" y="30766"/>
                        <a:pt x="8858" y="39624"/>
                        <a:pt x="19812" y="39624"/>
                      </a:cubicBezTo>
                      <a:cubicBezTo>
                        <a:pt x="30766" y="39624"/>
                        <a:pt x="39624" y="30766"/>
                        <a:pt x="39624" y="19812"/>
                      </a:cubicBezTo>
                      <a:cubicBezTo>
                        <a:pt x="39624" y="8858"/>
                        <a:pt x="30766" y="0"/>
                        <a:pt x="19812" y="0"/>
                      </a:cubicBezTo>
                      <a:cubicBezTo>
                        <a:pt x="8858" y="0"/>
                        <a:pt x="0" y="8858"/>
                        <a:pt x="0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1" name="iš1iḓé"/>
                <p:cNvSpPr/>
                <p:nvPr/>
              </p:nvSpPr>
              <p:spPr>
                <a:xfrm>
                  <a:off x="5112560" y="3580752"/>
                  <a:ext cx="39624" cy="39623"/>
                </a:xfrm>
                <a:custGeom>
                  <a:avLst/>
                  <a:gdLst>
                    <a:gd name="connsiteX0" fmla="*/ 0 w 39624"/>
                    <a:gd name="connsiteY0" fmla="*/ 19812 h 39623"/>
                    <a:gd name="connsiteX1" fmla="*/ 19812 w 39624"/>
                    <a:gd name="connsiteY1" fmla="*/ 39624 h 39623"/>
                    <a:gd name="connsiteX2" fmla="*/ 39624 w 39624"/>
                    <a:gd name="connsiteY2" fmla="*/ 19812 h 39623"/>
                    <a:gd name="connsiteX3" fmla="*/ 19812 w 39624"/>
                    <a:gd name="connsiteY3" fmla="*/ 0 h 39623"/>
                    <a:gd name="connsiteX4" fmla="*/ 0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0" y="19812"/>
                      </a:moveTo>
                      <a:cubicBezTo>
                        <a:pt x="0" y="30766"/>
                        <a:pt x="8858" y="39624"/>
                        <a:pt x="19812" y="39624"/>
                      </a:cubicBezTo>
                      <a:cubicBezTo>
                        <a:pt x="30766" y="39624"/>
                        <a:pt x="39624" y="30766"/>
                        <a:pt x="39624" y="19812"/>
                      </a:cubicBezTo>
                      <a:cubicBezTo>
                        <a:pt x="39624" y="8858"/>
                        <a:pt x="30766" y="0"/>
                        <a:pt x="19812" y="0"/>
                      </a:cubicBezTo>
                      <a:cubicBezTo>
                        <a:pt x="8858" y="0"/>
                        <a:pt x="0" y="8858"/>
                        <a:pt x="0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2" name="íṡľíḓé"/>
                <p:cNvSpPr/>
                <p:nvPr/>
              </p:nvSpPr>
              <p:spPr>
                <a:xfrm>
                  <a:off x="5002356" y="3617423"/>
                  <a:ext cx="46990" cy="131921"/>
                </a:xfrm>
                <a:custGeom>
                  <a:avLst/>
                  <a:gdLst>
                    <a:gd name="connsiteX0" fmla="*/ 0 w 46990"/>
                    <a:gd name="connsiteY0" fmla="*/ 0 h 131921"/>
                    <a:gd name="connsiteX1" fmla="*/ 0 w 46990"/>
                    <a:gd name="connsiteY1" fmla="*/ 131921 h 131921"/>
                    <a:gd name="connsiteX2" fmla="*/ 0 w 46990"/>
                    <a:gd name="connsiteY2" fmla="*/ 0 h 131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90" h="131921">
                      <a:moveTo>
                        <a:pt x="0" y="0"/>
                      </a:moveTo>
                      <a:lnTo>
                        <a:pt x="0" y="131921"/>
                      </a:lnTo>
                      <a:cubicBezTo>
                        <a:pt x="105728" y="131826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3" name="ïṣ1îḑê"/>
                <p:cNvSpPr/>
                <p:nvPr/>
              </p:nvSpPr>
              <p:spPr>
                <a:xfrm>
                  <a:off x="4945301" y="3791255"/>
                  <a:ext cx="114109" cy="25357"/>
                </a:xfrm>
                <a:custGeom>
                  <a:avLst/>
                  <a:gdLst>
                    <a:gd name="connsiteX0" fmla="*/ 114109 w 114109"/>
                    <a:gd name="connsiteY0" fmla="*/ 0 h 25357"/>
                    <a:gd name="connsiteX1" fmla="*/ 0 w 114109"/>
                    <a:gd name="connsiteY1" fmla="*/ 0 h 25357"/>
                    <a:gd name="connsiteX2" fmla="*/ 114109 w 114109"/>
                    <a:gd name="connsiteY2" fmla="*/ 0 h 253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14109" h="25357">
                      <a:moveTo>
                        <a:pt x="114109" y="0"/>
                      </a:moveTo>
                      <a:cubicBezTo>
                        <a:pt x="57055" y="57055"/>
                        <a:pt x="0" y="0"/>
                        <a:pt x="0" y="0"/>
                      </a:cubicBezTo>
                      <a:lnTo>
                        <a:pt x="114109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4" name="îṩḷïḍé"/>
                <p:cNvSpPr/>
                <p:nvPr/>
              </p:nvSpPr>
              <p:spPr>
                <a:xfrm>
                  <a:off x="4850623" y="355006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5" name="îş1îďè"/>
                <p:cNvSpPr/>
                <p:nvPr/>
              </p:nvSpPr>
              <p:spPr>
                <a:xfrm>
                  <a:off x="5085033" y="355006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6" name="i$ļiḑe"/>
                <p:cNvSpPr/>
                <p:nvPr/>
              </p:nvSpPr>
              <p:spPr>
                <a:xfrm>
                  <a:off x="4770899" y="3650475"/>
                  <a:ext cx="140779" cy="140779"/>
                </a:xfrm>
                <a:custGeom>
                  <a:avLst/>
                  <a:gdLst>
                    <a:gd name="connsiteX0" fmla="*/ 140780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80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80" y="70390"/>
                      </a:moveTo>
                      <a:cubicBezTo>
                        <a:pt x="140780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5" y="0"/>
                        <a:pt x="70390" y="0"/>
                      </a:cubicBezTo>
                      <a:cubicBezTo>
                        <a:pt x="109265" y="0"/>
                        <a:pt x="140780" y="31515"/>
                        <a:pt x="140780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37" name="íṩļiḍe"/>
                <p:cNvSpPr/>
                <p:nvPr/>
              </p:nvSpPr>
              <p:spPr>
                <a:xfrm>
                  <a:off x="5101702" y="3650475"/>
                  <a:ext cx="121920" cy="140779"/>
                </a:xfrm>
                <a:custGeom>
                  <a:avLst/>
                  <a:gdLst>
                    <a:gd name="connsiteX0" fmla="*/ 70390 w 121920"/>
                    <a:gd name="connsiteY0" fmla="*/ 0 h 140779"/>
                    <a:gd name="connsiteX1" fmla="*/ 0 w 121920"/>
                    <a:gd name="connsiteY1" fmla="*/ 70390 h 140779"/>
                    <a:gd name="connsiteX2" fmla="*/ 70390 w 121920"/>
                    <a:gd name="connsiteY2" fmla="*/ 140779 h 140779"/>
                    <a:gd name="connsiteX3" fmla="*/ 107156 w 121920"/>
                    <a:gd name="connsiteY3" fmla="*/ 130207 h 140779"/>
                    <a:gd name="connsiteX4" fmla="*/ 121920 w 121920"/>
                    <a:gd name="connsiteY4" fmla="*/ 22574 h 140779"/>
                    <a:gd name="connsiteX5" fmla="*/ 70390 w 121920"/>
                    <a:gd name="connsiteY5" fmla="*/ 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1920" h="140779">
                      <a:moveTo>
                        <a:pt x="70390" y="0"/>
                      </a:moveTo>
                      <a:cubicBezTo>
                        <a:pt x="31528" y="0"/>
                        <a:pt x="0" y="31528"/>
                        <a:pt x="0" y="70390"/>
                      </a:cubicBezTo>
                      <a:cubicBezTo>
                        <a:pt x="0" y="109252"/>
                        <a:pt x="31528" y="140779"/>
                        <a:pt x="70390" y="140779"/>
                      </a:cubicBezTo>
                      <a:cubicBezTo>
                        <a:pt x="83915" y="140779"/>
                        <a:pt x="96393" y="136779"/>
                        <a:pt x="107156" y="130207"/>
                      </a:cubicBezTo>
                      <a:cubicBezTo>
                        <a:pt x="116014" y="98489"/>
                        <a:pt x="120968" y="62484"/>
                        <a:pt x="121920" y="22574"/>
                      </a:cubicBezTo>
                      <a:cubicBezTo>
                        <a:pt x="108966" y="8763"/>
                        <a:pt x="90773" y="0"/>
                        <a:pt x="70390" y="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15" name="ïŝḷiḓè"/>
              <p:cNvSpPr/>
              <p:nvPr/>
            </p:nvSpPr>
            <p:spPr>
              <a:xfrm>
                <a:off x="5023025" y="5158829"/>
                <a:ext cx="401734" cy="250437"/>
              </a:xfrm>
              <a:custGeom>
                <a:avLst/>
                <a:gdLst>
                  <a:gd name="connsiteX0" fmla="*/ 22098 w 401734"/>
                  <a:gd name="connsiteY0" fmla="*/ 74320 h 250437"/>
                  <a:gd name="connsiteX1" fmla="*/ 286703 w 401734"/>
                  <a:gd name="connsiteY1" fmla="*/ 7169 h 250437"/>
                  <a:gd name="connsiteX2" fmla="*/ 231267 w 401734"/>
                  <a:gd name="connsiteY2" fmla="*/ 62509 h 250437"/>
                  <a:gd name="connsiteX3" fmla="*/ 401669 w 401734"/>
                  <a:gd name="connsiteY3" fmla="*/ 83940 h 250437"/>
                  <a:gd name="connsiteX4" fmla="*/ 352616 w 401734"/>
                  <a:gd name="connsiteY4" fmla="*/ 115849 h 250437"/>
                  <a:gd name="connsiteX5" fmla="*/ 369951 w 401734"/>
                  <a:gd name="connsiteY5" fmla="*/ 135090 h 250437"/>
                  <a:gd name="connsiteX6" fmla="*/ 335471 w 401734"/>
                  <a:gd name="connsiteY6" fmla="*/ 159759 h 250437"/>
                  <a:gd name="connsiteX7" fmla="*/ 310229 w 401734"/>
                  <a:gd name="connsiteY7" fmla="*/ 194430 h 250437"/>
                  <a:gd name="connsiteX8" fmla="*/ 255270 w 401734"/>
                  <a:gd name="connsiteY8" fmla="*/ 235007 h 250437"/>
                  <a:gd name="connsiteX9" fmla="*/ 0 w 401734"/>
                  <a:gd name="connsiteY9" fmla="*/ 250437 h 2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1734" h="250437">
                    <a:moveTo>
                      <a:pt x="22098" y="74320"/>
                    </a:moveTo>
                    <a:cubicBezTo>
                      <a:pt x="22098" y="74320"/>
                      <a:pt x="259937" y="-27407"/>
                      <a:pt x="286703" y="7169"/>
                    </a:cubicBezTo>
                    <a:cubicBezTo>
                      <a:pt x="313563" y="41745"/>
                      <a:pt x="231267" y="62509"/>
                      <a:pt x="231267" y="62509"/>
                    </a:cubicBezTo>
                    <a:cubicBezTo>
                      <a:pt x="231267" y="62509"/>
                      <a:pt x="405574" y="53175"/>
                      <a:pt x="401669" y="83940"/>
                    </a:cubicBezTo>
                    <a:cubicBezTo>
                      <a:pt x="397859" y="114611"/>
                      <a:pt x="352616" y="115849"/>
                      <a:pt x="352616" y="115849"/>
                    </a:cubicBezTo>
                    <a:cubicBezTo>
                      <a:pt x="352616" y="115849"/>
                      <a:pt x="371951" y="119183"/>
                      <a:pt x="369951" y="135090"/>
                    </a:cubicBezTo>
                    <a:cubicBezTo>
                      <a:pt x="367951" y="150901"/>
                      <a:pt x="335947" y="155759"/>
                      <a:pt x="335471" y="159759"/>
                    </a:cubicBezTo>
                    <a:cubicBezTo>
                      <a:pt x="365665" y="169189"/>
                      <a:pt x="347472" y="199098"/>
                      <a:pt x="310229" y="194430"/>
                    </a:cubicBezTo>
                    <a:cubicBezTo>
                      <a:pt x="339757" y="215862"/>
                      <a:pt x="309563" y="232149"/>
                      <a:pt x="255270" y="235007"/>
                    </a:cubicBezTo>
                    <a:cubicBezTo>
                      <a:pt x="200978" y="237864"/>
                      <a:pt x="0" y="250437"/>
                      <a:pt x="0" y="250437"/>
                    </a:cubicBezTo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6" name="i$ḷíḋê"/>
              <p:cNvSpPr/>
              <p:nvPr/>
            </p:nvSpPr>
            <p:spPr>
              <a:xfrm>
                <a:off x="5363151" y="4868778"/>
                <a:ext cx="375147" cy="265220"/>
              </a:xfrm>
              <a:custGeom>
                <a:avLst/>
                <a:gdLst>
                  <a:gd name="connsiteX0" fmla="*/ 12 w 375147"/>
                  <a:gd name="connsiteY0" fmla="*/ 62619 h 265220"/>
                  <a:gd name="connsiteX1" fmla="*/ 171748 w 375147"/>
                  <a:gd name="connsiteY1" fmla="*/ 67477 h 265220"/>
                  <a:gd name="connsiteX2" fmla="*/ 125457 w 375147"/>
                  <a:gd name="connsiteY2" fmla="*/ 4326 h 265220"/>
                  <a:gd name="connsiteX3" fmla="*/ 325576 w 375147"/>
                  <a:gd name="connsiteY3" fmla="*/ 80622 h 265220"/>
                  <a:gd name="connsiteX4" fmla="*/ 375107 w 375147"/>
                  <a:gd name="connsiteY4" fmla="*/ 169109 h 265220"/>
                  <a:gd name="connsiteX5" fmla="*/ 375107 w 375147"/>
                  <a:gd name="connsiteY5" fmla="*/ 169109 h 265220"/>
                  <a:gd name="connsiteX6" fmla="*/ 255282 w 375147"/>
                  <a:gd name="connsiteY6" fmla="*/ 262930 h 265220"/>
                  <a:gd name="connsiteX7" fmla="*/ 121742 w 375147"/>
                  <a:gd name="connsiteY7" fmla="*/ 234165 h 265220"/>
                  <a:gd name="connsiteX8" fmla="*/ 73545 w 375147"/>
                  <a:gd name="connsiteY8" fmla="*/ 185682 h 265220"/>
                  <a:gd name="connsiteX9" fmla="*/ 53828 w 375147"/>
                  <a:gd name="connsiteY9" fmla="*/ 147582 h 265220"/>
                  <a:gd name="connsiteX10" fmla="*/ 23539 w 375147"/>
                  <a:gd name="connsiteY10" fmla="*/ 117960 h 265220"/>
                  <a:gd name="connsiteX11" fmla="*/ 43541 w 375147"/>
                  <a:gd name="connsiteY11" fmla="*/ 101672 h 265220"/>
                  <a:gd name="connsiteX12" fmla="*/ 12 w 375147"/>
                  <a:gd name="connsiteY12" fmla="*/ 62619 h 2652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147" h="265220">
                    <a:moveTo>
                      <a:pt x="12" y="62619"/>
                    </a:moveTo>
                    <a:cubicBezTo>
                      <a:pt x="869" y="31758"/>
                      <a:pt x="171748" y="67477"/>
                      <a:pt x="171748" y="67477"/>
                    </a:cubicBezTo>
                    <a:cubicBezTo>
                      <a:pt x="171748" y="67477"/>
                      <a:pt x="93643" y="34330"/>
                      <a:pt x="125457" y="4326"/>
                    </a:cubicBezTo>
                    <a:cubicBezTo>
                      <a:pt x="147364" y="-16438"/>
                      <a:pt x="258711" y="42236"/>
                      <a:pt x="325576" y="80622"/>
                    </a:cubicBezTo>
                    <a:cubicBezTo>
                      <a:pt x="357199" y="98719"/>
                      <a:pt x="376155" y="132723"/>
                      <a:pt x="375107" y="169109"/>
                    </a:cubicBezTo>
                    <a:lnTo>
                      <a:pt x="375107" y="169109"/>
                    </a:lnTo>
                    <a:cubicBezTo>
                      <a:pt x="373392" y="231021"/>
                      <a:pt x="315861" y="276075"/>
                      <a:pt x="255282" y="262930"/>
                    </a:cubicBezTo>
                    <a:cubicBezTo>
                      <a:pt x="202609" y="251500"/>
                      <a:pt x="146602" y="239308"/>
                      <a:pt x="121742" y="234165"/>
                    </a:cubicBezTo>
                    <a:cubicBezTo>
                      <a:pt x="68497" y="223116"/>
                      <a:pt x="41160" y="202351"/>
                      <a:pt x="73545" y="185682"/>
                    </a:cubicBezTo>
                    <a:cubicBezTo>
                      <a:pt x="36017" y="184635"/>
                      <a:pt x="22586" y="152250"/>
                      <a:pt x="53828" y="147582"/>
                    </a:cubicBezTo>
                    <a:cubicBezTo>
                      <a:pt x="53924" y="143582"/>
                      <a:pt x="23063" y="133962"/>
                      <a:pt x="23539" y="117960"/>
                    </a:cubicBezTo>
                    <a:cubicBezTo>
                      <a:pt x="24015" y="101958"/>
                      <a:pt x="43541" y="101672"/>
                      <a:pt x="43541" y="101672"/>
                    </a:cubicBezTo>
                    <a:cubicBezTo>
                      <a:pt x="43541" y="101672"/>
                      <a:pt x="-845" y="93480"/>
                      <a:pt x="12" y="62619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7" name="ïsļîḍê"/>
              <p:cNvSpPr/>
              <p:nvPr/>
            </p:nvSpPr>
            <p:spPr>
              <a:xfrm>
                <a:off x="4822261" y="4068242"/>
                <a:ext cx="309657" cy="377570"/>
              </a:xfrm>
              <a:custGeom>
                <a:avLst/>
                <a:gdLst>
                  <a:gd name="connsiteX0" fmla="*/ 9978 w 309657"/>
                  <a:gd name="connsiteY0" fmla="*/ 0 h 377570"/>
                  <a:gd name="connsiteX1" fmla="*/ 152853 w 309657"/>
                  <a:gd name="connsiteY1" fmla="*/ 147066 h 377570"/>
                  <a:gd name="connsiteX2" fmla="*/ 299253 w 309657"/>
                  <a:gd name="connsiteY2" fmla="*/ 0 h 377570"/>
                  <a:gd name="connsiteX3" fmla="*/ 152853 w 309657"/>
                  <a:gd name="connsiteY3" fmla="*/ 377571 h 377570"/>
                  <a:gd name="connsiteX4" fmla="*/ 9978 w 309657"/>
                  <a:gd name="connsiteY4" fmla="*/ 0 h 3775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57" h="377570">
                    <a:moveTo>
                      <a:pt x="9978" y="0"/>
                    </a:moveTo>
                    <a:cubicBezTo>
                      <a:pt x="9978" y="0"/>
                      <a:pt x="44649" y="147066"/>
                      <a:pt x="152853" y="147066"/>
                    </a:cubicBezTo>
                    <a:cubicBezTo>
                      <a:pt x="261057" y="147066"/>
                      <a:pt x="299253" y="0"/>
                      <a:pt x="299253" y="0"/>
                    </a:cubicBezTo>
                    <a:cubicBezTo>
                      <a:pt x="299253" y="0"/>
                      <a:pt x="367832" y="162592"/>
                      <a:pt x="152853" y="377571"/>
                    </a:cubicBezTo>
                    <a:cubicBezTo>
                      <a:pt x="-56316" y="164592"/>
                      <a:pt x="9978" y="0"/>
                      <a:pt x="9978" y="0"/>
                    </a:cubicBez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8" name="íṧľiḋé"/>
              <p:cNvSpPr/>
              <p:nvPr/>
            </p:nvSpPr>
            <p:spPr>
              <a:xfrm>
                <a:off x="4516581" y="5904376"/>
                <a:ext cx="283368" cy="283654"/>
              </a:xfrm>
              <a:custGeom>
                <a:avLst/>
                <a:gdLst>
                  <a:gd name="connsiteX0" fmla="*/ 0 w 283368"/>
                  <a:gd name="connsiteY0" fmla="*/ 212503 h 283654"/>
                  <a:gd name="connsiteX1" fmla="*/ 212598 w 283368"/>
                  <a:gd name="connsiteY1" fmla="*/ 0 h 283654"/>
                  <a:gd name="connsiteX2" fmla="*/ 283369 w 283368"/>
                  <a:gd name="connsiteY2" fmla="*/ 70771 h 283654"/>
                  <a:gd name="connsiteX3" fmla="*/ 70485 w 283368"/>
                  <a:gd name="connsiteY3" fmla="*/ 283655 h 28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368" h="283654">
                    <a:moveTo>
                      <a:pt x="0" y="212503"/>
                    </a:moveTo>
                    <a:lnTo>
                      <a:pt x="212598" y="0"/>
                    </a:lnTo>
                    <a:lnTo>
                      <a:pt x="283369" y="70771"/>
                    </a:lnTo>
                    <a:lnTo>
                      <a:pt x="70485" y="283655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9" name="ïṧḻïḍe"/>
              <p:cNvSpPr/>
              <p:nvPr/>
            </p:nvSpPr>
            <p:spPr>
              <a:xfrm>
                <a:off x="5305822" y="5904376"/>
                <a:ext cx="283464" cy="283654"/>
              </a:xfrm>
              <a:custGeom>
                <a:avLst/>
                <a:gdLst>
                  <a:gd name="connsiteX0" fmla="*/ 283464 w 283464"/>
                  <a:gd name="connsiteY0" fmla="*/ 212503 h 283654"/>
                  <a:gd name="connsiteX1" fmla="*/ 70866 w 283464"/>
                  <a:gd name="connsiteY1" fmla="*/ 0 h 283654"/>
                  <a:gd name="connsiteX2" fmla="*/ 0 w 283464"/>
                  <a:gd name="connsiteY2" fmla="*/ 70771 h 283654"/>
                  <a:gd name="connsiteX3" fmla="*/ 212884 w 283464"/>
                  <a:gd name="connsiteY3" fmla="*/ 283655 h 2836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3464" h="283654">
                    <a:moveTo>
                      <a:pt x="283464" y="212503"/>
                    </a:moveTo>
                    <a:lnTo>
                      <a:pt x="70866" y="0"/>
                    </a:lnTo>
                    <a:lnTo>
                      <a:pt x="0" y="70771"/>
                    </a:lnTo>
                    <a:lnTo>
                      <a:pt x="212884" y="283655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0" name="íṥ1îdé"/>
              <p:cNvSpPr/>
              <p:nvPr/>
            </p:nvSpPr>
            <p:spPr>
              <a:xfrm>
                <a:off x="4516581" y="5904376"/>
                <a:ext cx="212597" cy="212502"/>
              </a:xfrm>
              <a:custGeom>
                <a:avLst/>
                <a:gdLst>
                  <a:gd name="connsiteX0" fmla="*/ 0 w 212597"/>
                  <a:gd name="connsiteY0" fmla="*/ 212503 h 212502"/>
                  <a:gd name="connsiteX1" fmla="*/ 212598 w 212597"/>
                  <a:gd name="connsiteY1" fmla="*/ 0 h 21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97" h="212502">
                    <a:moveTo>
                      <a:pt x="0" y="212503"/>
                    </a:moveTo>
                    <a:lnTo>
                      <a:pt x="212598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1" name="ïṥlîḑé"/>
              <p:cNvSpPr/>
              <p:nvPr/>
            </p:nvSpPr>
            <p:spPr>
              <a:xfrm>
                <a:off x="5376689" y="5904376"/>
                <a:ext cx="212597" cy="212502"/>
              </a:xfrm>
              <a:custGeom>
                <a:avLst/>
                <a:gdLst>
                  <a:gd name="connsiteX0" fmla="*/ 0 w 212597"/>
                  <a:gd name="connsiteY0" fmla="*/ 0 h 212502"/>
                  <a:gd name="connsiteX1" fmla="*/ 212598 w 212597"/>
                  <a:gd name="connsiteY1" fmla="*/ 212503 h 212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2597" h="212502">
                    <a:moveTo>
                      <a:pt x="0" y="0"/>
                    </a:moveTo>
                    <a:lnTo>
                      <a:pt x="212598" y="212503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2" name="îŝḻîḍè"/>
              <p:cNvSpPr/>
              <p:nvPr/>
            </p:nvSpPr>
            <p:spPr>
              <a:xfrm>
                <a:off x="4741787" y="3562446"/>
                <a:ext cx="481835" cy="395305"/>
              </a:xfrm>
              <a:custGeom>
                <a:avLst/>
                <a:gdLst>
                  <a:gd name="connsiteX0" fmla="*/ 465262 w 481835"/>
                  <a:gd name="connsiteY0" fmla="*/ 226618 h 395305"/>
                  <a:gd name="connsiteX1" fmla="*/ 419732 w 481835"/>
                  <a:gd name="connsiteY1" fmla="*/ 129368 h 395305"/>
                  <a:gd name="connsiteX2" fmla="*/ 481835 w 481835"/>
                  <a:gd name="connsiteY2" fmla="*/ 21354 h 395305"/>
                  <a:gd name="connsiteX3" fmla="*/ 481645 w 481835"/>
                  <a:gd name="connsiteY3" fmla="*/ 2400 h 395305"/>
                  <a:gd name="connsiteX4" fmla="*/ 411922 w 481835"/>
                  <a:gd name="connsiteY4" fmla="*/ 123653 h 395305"/>
                  <a:gd name="connsiteX5" fmla="*/ 245329 w 481835"/>
                  <a:gd name="connsiteY5" fmla="*/ 123653 h 395305"/>
                  <a:gd name="connsiteX6" fmla="*/ 78737 w 481835"/>
                  <a:gd name="connsiteY6" fmla="*/ 123653 h 395305"/>
                  <a:gd name="connsiteX7" fmla="*/ 9014 w 481835"/>
                  <a:gd name="connsiteY7" fmla="*/ 2400 h 395305"/>
                  <a:gd name="connsiteX8" fmla="*/ 2442 w 481835"/>
                  <a:gd name="connsiteY8" fmla="*/ 590 h 395305"/>
                  <a:gd name="connsiteX9" fmla="*/ 632 w 481835"/>
                  <a:gd name="connsiteY9" fmla="*/ 7162 h 395305"/>
                  <a:gd name="connsiteX10" fmla="*/ 70927 w 481835"/>
                  <a:gd name="connsiteY10" fmla="*/ 129368 h 395305"/>
                  <a:gd name="connsiteX11" fmla="*/ 25397 w 481835"/>
                  <a:gd name="connsiteY11" fmla="*/ 226618 h 395305"/>
                  <a:gd name="connsiteX12" fmla="*/ 14634 w 481835"/>
                  <a:gd name="connsiteY12" fmla="*/ 181470 h 395305"/>
                  <a:gd name="connsiteX13" fmla="*/ 4537 w 481835"/>
                  <a:gd name="connsiteY13" fmla="*/ 179469 h 395305"/>
                  <a:gd name="connsiteX14" fmla="*/ 22540 w 481835"/>
                  <a:gd name="connsiteY14" fmla="*/ 245287 h 395305"/>
                  <a:gd name="connsiteX15" fmla="*/ 245329 w 481835"/>
                  <a:gd name="connsiteY15" fmla="*/ 395306 h 395305"/>
                  <a:gd name="connsiteX16" fmla="*/ 464880 w 481835"/>
                  <a:gd name="connsiteY16" fmla="*/ 241477 h 395305"/>
                  <a:gd name="connsiteX17" fmla="*/ 480502 w 481835"/>
                  <a:gd name="connsiteY17" fmla="*/ 150418 h 395305"/>
                  <a:gd name="connsiteX18" fmla="*/ 465262 w 481835"/>
                  <a:gd name="connsiteY18" fmla="*/ 226618 h 3953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81835" h="395305">
                    <a:moveTo>
                      <a:pt x="465262" y="226618"/>
                    </a:moveTo>
                    <a:cubicBezTo>
                      <a:pt x="437544" y="185565"/>
                      <a:pt x="424018" y="144227"/>
                      <a:pt x="419732" y="129368"/>
                    </a:cubicBezTo>
                    <a:lnTo>
                      <a:pt x="481835" y="21354"/>
                    </a:lnTo>
                    <a:lnTo>
                      <a:pt x="481645" y="2400"/>
                    </a:lnTo>
                    <a:lnTo>
                      <a:pt x="411922" y="123653"/>
                    </a:lnTo>
                    <a:lnTo>
                      <a:pt x="245329" y="123653"/>
                    </a:lnTo>
                    <a:lnTo>
                      <a:pt x="78737" y="123653"/>
                    </a:lnTo>
                    <a:lnTo>
                      <a:pt x="9014" y="2400"/>
                    </a:lnTo>
                    <a:cubicBezTo>
                      <a:pt x="7680" y="114"/>
                      <a:pt x="4728" y="-648"/>
                      <a:pt x="2442" y="590"/>
                    </a:cubicBezTo>
                    <a:cubicBezTo>
                      <a:pt x="156" y="1923"/>
                      <a:pt x="-701" y="4876"/>
                      <a:pt x="632" y="7162"/>
                    </a:cubicBezTo>
                    <a:lnTo>
                      <a:pt x="70927" y="129368"/>
                    </a:lnTo>
                    <a:cubicBezTo>
                      <a:pt x="66640" y="144227"/>
                      <a:pt x="53115" y="185565"/>
                      <a:pt x="25397" y="226618"/>
                    </a:cubicBezTo>
                    <a:cubicBezTo>
                      <a:pt x="22349" y="217188"/>
                      <a:pt x="18253" y="202234"/>
                      <a:pt x="14634" y="181470"/>
                    </a:cubicBezTo>
                    <a:lnTo>
                      <a:pt x="4537" y="179469"/>
                    </a:lnTo>
                    <a:cubicBezTo>
                      <a:pt x="11872" y="223094"/>
                      <a:pt x="17301" y="231952"/>
                      <a:pt x="22540" y="245287"/>
                    </a:cubicBezTo>
                    <a:cubicBezTo>
                      <a:pt x="57782" y="334155"/>
                      <a:pt x="143793" y="395306"/>
                      <a:pt x="245329" y="395306"/>
                    </a:cubicBezTo>
                    <a:cubicBezTo>
                      <a:pt x="346771" y="395306"/>
                      <a:pt x="430400" y="341204"/>
                      <a:pt x="464880" y="241477"/>
                    </a:cubicBezTo>
                    <a:cubicBezTo>
                      <a:pt x="472596" y="219284"/>
                      <a:pt x="482311" y="150609"/>
                      <a:pt x="480502" y="150418"/>
                    </a:cubicBezTo>
                    <a:cubicBezTo>
                      <a:pt x="476215" y="188232"/>
                      <a:pt x="469738" y="212997"/>
                      <a:pt x="465262" y="226618"/>
                    </a:cubicBez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3" name="îṣ1ïḑé"/>
              <p:cNvSpPr/>
              <p:nvPr/>
            </p:nvSpPr>
            <p:spPr>
              <a:xfrm>
                <a:off x="4665934" y="3153106"/>
                <a:ext cx="672820" cy="462492"/>
              </a:xfrm>
              <a:custGeom>
                <a:avLst/>
                <a:gdLst>
                  <a:gd name="connsiteX0" fmla="*/ 17716 w 672820"/>
                  <a:gd name="connsiteY0" fmla="*/ 417740 h 462492"/>
                  <a:gd name="connsiteX1" fmla="*/ 73532 w 672820"/>
                  <a:gd name="connsiteY1" fmla="*/ 462412 h 462492"/>
                  <a:gd name="connsiteX2" fmla="*/ 100774 w 672820"/>
                  <a:gd name="connsiteY2" fmla="*/ 450506 h 462492"/>
                  <a:gd name="connsiteX3" fmla="*/ 325469 w 672820"/>
                  <a:gd name="connsiteY3" fmla="*/ 231240 h 462492"/>
                  <a:gd name="connsiteX4" fmla="*/ 565975 w 672820"/>
                  <a:gd name="connsiteY4" fmla="*/ 353065 h 462492"/>
                  <a:gd name="connsiteX5" fmla="*/ 590930 w 672820"/>
                  <a:gd name="connsiteY5" fmla="*/ 231526 h 462492"/>
                  <a:gd name="connsiteX6" fmla="*/ 670845 w 672820"/>
                  <a:gd name="connsiteY6" fmla="*/ 206571 h 462492"/>
                  <a:gd name="connsiteX7" fmla="*/ 610933 w 672820"/>
                  <a:gd name="connsiteY7" fmla="*/ 129990 h 462492"/>
                  <a:gd name="connsiteX8" fmla="*/ 660844 w 672820"/>
                  <a:gd name="connsiteY8" fmla="*/ 51789 h 462492"/>
                  <a:gd name="connsiteX9" fmla="*/ 553878 w 672820"/>
                  <a:gd name="connsiteY9" fmla="*/ 20166 h 462492"/>
                  <a:gd name="connsiteX10" fmla="*/ 253555 w 672820"/>
                  <a:gd name="connsiteY10" fmla="*/ 35121 h 462492"/>
                  <a:gd name="connsiteX11" fmla="*/ 17716 w 672820"/>
                  <a:gd name="connsiteY11" fmla="*/ 417740 h 462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72820" h="462492">
                    <a:moveTo>
                      <a:pt x="17716" y="417740"/>
                    </a:moveTo>
                    <a:cubicBezTo>
                      <a:pt x="24097" y="443553"/>
                      <a:pt x="46957" y="463936"/>
                      <a:pt x="73532" y="462412"/>
                    </a:cubicBezTo>
                    <a:cubicBezTo>
                      <a:pt x="83057" y="461841"/>
                      <a:pt x="92678" y="458602"/>
                      <a:pt x="100774" y="450506"/>
                    </a:cubicBezTo>
                    <a:cubicBezTo>
                      <a:pt x="129158" y="422121"/>
                      <a:pt x="94106" y="206285"/>
                      <a:pt x="325469" y="231240"/>
                    </a:cubicBezTo>
                    <a:cubicBezTo>
                      <a:pt x="556831" y="256196"/>
                      <a:pt x="487774" y="368019"/>
                      <a:pt x="565975" y="353065"/>
                    </a:cubicBezTo>
                    <a:cubicBezTo>
                      <a:pt x="644175" y="338111"/>
                      <a:pt x="590930" y="231526"/>
                      <a:pt x="590930" y="231526"/>
                    </a:cubicBezTo>
                    <a:cubicBezTo>
                      <a:pt x="590930" y="231526"/>
                      <a:pt x="655891" y="258196"/>
                      <a:pt x="670845" y="206571"/>
                    </a:cubicBezTo>
                    <a:cubicBezTo>
                      <a:pt x="685799" y="154945"/>
                      <a:pt x="610933" y="129990"/>
                      <a:pt x="610933" y="129990"/>
                    </a:cubicBezTo>
                    <a:cubicBezTo>
                      <a:pt x="610933" y="129990"/>
                      <a:pt x="672560" y="108368"/>
                      <a:pt x="660844" y="51789"/>
                    </a:cubicBezTo>
                    <a:cubicBezTo>
                      <a:pt x="649223" y="-4789"/>
                      <a:pt x="588549" y="-14505"/>
                      <a:pt x="553878" y="20166"/>
                    </a:cubicBezTo>
                    <a:cubicBezTo>
                      <a:pt x="519207" y="54837"/>
                      <a:pt x="348900" y="55123"/>
                      <a:pt x="253555" y="35121"/>
                    </a:cubicBezTo>
                    <a:cubicBezTo>
                      <a:pt x="160877" y="15785"/>
                      <a:pt x="-64485" y="87603"/>
                      <a:pt x="17716" y="417740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grpSp>
          <p:nvGrpSpPr>
            <p:cNvPr id="8" name="图形 278"/>
            <p:cNvGrpSpPr/>
            <p:nvPr userDrawn="1"/>
          </p:nvGrpSpPr>
          <p:grpSpPr>
            <a:xfrm rot="21306450">
              <a:off x="2862710" y="639906"/>
              <a:ext cx="2010997" cy="5287322"/>
              <a:chOff x="2454419" y="3140768"/>
              <a:chExt cx="1574030" cy="4138446"/>
            </a:xfrm>
            <a:solidFill>
              <a:schemeClr val="accent1"/>
            </a:solidFill>
          </p:grpSpPr>
          <p:sp>
            <p:nvSpPr>
              <p:cNvPr id="159" name="ïṣľiḋe"/>
              <p:cNvSpPr/>
              <p:nvPr/>
            </p:nvSpPr>
            <p:spPr>
              <a:xfrm>
                <a:off x="2894493" y="3249636"/>
                <a:ext cx="829832" cy="709379"/>
              </a:xfrm>
              <a:custGeom>
                <a:avLst/>
                <a:gdLst>
                  <a:gd name="connsiteX0" fmla="*/ 565861 w 829832"/>
                  <a:gd name="connsiteY0" fmla="*/ 10314 h 709379"/>
                  <a:gd name="connsiteX1" fmla="*/ 431463 w 829832"/>
                  <a:gd name="connsiteY1" fmla="*/ 4028 h 709379"/>
                  <a:gd name="connsiteX2" fmla="*/ 134379 w 829832"/>
                  <a:gd name="connsiteY2" fmla="*/ 193290 h 709379"/>
                  <a:gd name="connsiteX3" fmla="*/ 49892 w 829832"/>
                  <a:gd name="connsiteY3" fmla="*/ 317591 h 709379"/>
                  <a:gd name="connsiteX4" fmla="*/ 198672 w 829832"/>
                  <a:gd name="connsiteY4" fmla="*/ 673255 h 709379"/>
                  <a:gd name="connsiteX5" fmla="*/ 570147 w 829832"/>
                  <a:gd name="connsiteY5" fmla="*/ 708307 h 709379"/>
                  <a:gd name="connsiteX6" fmla="*/ 829704 w 829832"/>
                  <a:gd name="connsiteY6" fmla="*/ 467229 h 709379"/>
                  <a:gd name="connsiteX7" fmla="*/ 565861 w 829832"/>
                  <a:gd name="connsiteY7" fmla="*/ 10314 h 7093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829832" h="709379">
                    <a:moveTo>
                      <a:pt x="565861" y="10314"/>
                    </a:moveTo>
                    <a:cubicBezTo>
                      <a:pt x="522141" y="-1497"/>
                      <a:pt x="476326" y="-2544"/>
                      <a:pt x="431463" y="4028"/>
                    </a:cubicBezTo>
                    <a:cubicBezTo>
                      <a:pt x="346691" y="16506"/>
                      <a:pt x="203530" y="57749"/>
                      <a:pt x="134379" y="193290"/>
                    </a:cubicBezTo>
                    <a:cubicBezTo>
                      <a:pt x="109709" y="241677"/>
                      <a:pt x="79514" y="281777"/>
                      <a:pt x="49892" y="317591"/>
                    </a:cubicBezTo>
                    <a:cubicBezTo>
                      <a:pt x="-61455" y="452275"/>
                      <a:pt x="24650" y="656776"/>
                      <a:pt x="198672" y="673255"/>
                    </a:cubicBezTo>
                    <a:lnTo>
                      <a:pt x="570147" y="708307"/>
                    </a:lnTo>
                    <a:cubicBezTo>
                      <a:pt x="711308" y="721642"/>
                      <a:pt x="834371" y="608961"/>
                      <a:pt x="829704" y="467229"/>
                    </a:cubicBezTo>
                    <a:cubicBezTo>
                      <a:pt x="823703" y="285111"/>
                      <a:pt x="771506" y="65845"/>
                      <a:pt x="565861" y="10314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0" name="ísḻîdé"/>
              <p:cNvSpPr/>
              <p:nvPr/>
            </p:nvSpPr>
            <p:spPr>
              <a:xfrm>
                <a:off x="2528142" y="4085492"/>
                <a:ext cx="1202781" cy="3193722"/>
              </a:xfrm>
              <a:custGeom>
                <a:avLst/>
                <a:gdLst>
                  <a:gd name="connsiteX0" fmla="*/ 1184339 w 1202781"/>
                  <a:gd name="connsiteY0" fmla="*/ 3193723 h 3193722"/>
                  <a:gd name="connsiteX1" fmla="*/ 1184053 w 1202781"/>
                  <a:gd name="connsiteY1" fmla="*/ 818569 h 3193722"/>
                  <a:gd name="connsiteX2" fmla="*/ 823055 w 1202781"/>
                  <a:gd name="connsiteY2" fmla="*/ 3610 h 3193722"/>
                  <a:gd name="connsiteX3" fmla="*/ 343948 w 1202781"/>
                  <a:gd name="connsiteY3" fmla="*/ 418519 h 3193722"/>
                  <a:gd name="connsiteX4" fmla="*/ 0 w 1202781"/>
                  <a:gd name="connsiteY4" fmla="*/ 3095234 h 3193722"/>
                  <a:gd name="connsiteX5" fmla="*/ 1184339 w 1202781"/>
                  <a:gd name="connsiteY5" fmla="*/ 3193723 h 3193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202781" h="3193722">
                    <a:moveTo>
                      <a:pt x="1184339" y="3193723"/>
                    </a:moveTo>
                    <a:lnTo>
                      <a:pt x="1184053" y="818569"/>
                    </a:lnTo>
                    <a:cubicBezTo>
                      <a:pt x="1194054" y="698173"/>
                      <a:pt x="1308449" y="43996"/>
                      <a:pt x="823055" y="3610"/>
                    </a:cubicBezTo>
                    <a:cubicBezTo>
                      <a:pt x="540925" y="-19917"/>
                      <a:pt x="361093" y="66284"/>
                      <a:pt x="343948" y="418519"/>
                    </a:cubicBezTo>
                    <a:cubicBezTo>
                      <a:pt x="324803" y="814283"/>
                      <a:pt x="0" y="3095234"/>
                      <a:pt x="0" y="3095234"/>
                    </a:cubicBezTo>
                    <a:lnTo>
                      <a:pt x="1184339" y="3193723"/>
                    </a:ln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1" name="图形 278"/>
              <p:cNvGrpSpPr/>
              <p:nvPr/>
            </p:nvGrpSpPr>
            <p:grpSpPr>
              <a:xfrm>
                <a:off x="3110292" y="4041877"/>
                <a:ext cx="444737" cy="874922"/>
                <a:chOff x="3110292" y="4041877"/>
                <a:chExt cx="444737" cy="874922"/>
              </a:xfrm>
              <a:solidFill>
                <a:schemeClr val="accent1"/>
              </a:solidFill>
            </p:grpSpPr>
            <p:sp>
              <p:nvSpPr>
                <p:cNvPr id="199" name="ïś1ïḓê"/>
                <p:cNvSpPr/>
                <p:nvPr/>
              </p:nvSpPr>
              <p:spPr>
                <a:xfrm>
                  <a:off x="3110292" y="4041877"/>
                  <a:ext cx="444737" cy="697019"/>
                </a:xfrm>
                <a:custGeom>
                  <a:avLst/>
                  <a:gdLst>
                    <a:gd name="connsiteX0" fmla="*/ 237953 w 444737"/>
                    <a:gd name="connsiteY0" fmla="*/ 171 h 697019"/>
                    <a:gd name="connsiteX1" fmla="*/ 237953 w 444737"/>
                    <a:gd name="connsiteY1" fmla="*/ 171 h 697019"/>
                    <a:gd name="connsiteX2" fmla="*/ 971 w 444737"/>
                    <a:gd name="connsiteY2" fmla="*/ 182670 h 697019"/>
                    <a:gd name="connsiteX3" fmla="*/ 182327 w 444737"/>
                    <a:gd name="connsiteY3" fmla="*/ 697020 h 697019"/>
                    <a:gd name="connsiteX4" fmla="*/ 443883 w 444737"/>
                    <a:gd name="connsiteY4" fmla="*/ 219532 h 697019"/>
                    <a:gd name="connsiteX5" fmla="*/ 237953 w 444737"/>
                    <a:gd name="connsiteY5" fmla="*/ 171 h 6970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737" h="697019">
                      <a:moveTo>
                        <a:pt x="237953" y="171"/>
                      </a:moveTo>
                      <a:lnTo>
                        <a:pt x="237953" y="171"/>
                      </a:lnTo>
                      <a:cubicBezTo>
                        <a:pt x="214712" y="-782"/>
                        <a:pt x="16497" y="-3830"/>
                        <a:pt x="971" y="182670"/>
                      </a:cubicBezTo>
                      <a:cubicBezTo>
                        <a:pt x="-14555" y="368979"/>
                        <a:pt x="160991" y="667874"/>
                        <a:pt x="182327" y="697020"/>
                      </a:cubicBezTo>
                      <a:cubicBezTo>
                        <a:pt x="208235" y="671779"/>
                        <a:pt x="428357" y="405745"/>
                        <a:pt x="443883" y="219532"/>
                      </a:cubicBezTo>
                      <a:cubicBezTo>
                        <a:pt x="459314" y="33032"/>
                        <a:pt x="261003" y="3028"/>
                        <a:pt x="237953" y="171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0" name="îṧlîḑè"/>
                <p:cNvSpPr/>
                <p:nvPr/>
              </p:nvSpPr>
              <p:spPr>
                <a:xfrm rot="285305">
                  <a:off x="3160023" y="4758777"/>
                  <a:ext cx="247374" cy="148024"/>
                </a:xfrm>
                <a:custGeom>
                  <a:avLst/>
                  <a:gdLst>
                    <a:gd name="connsiteX0" fmla="*/ 0 w 247374"/>
                    <a:gd name="connsiteY0" fmla="*/ 0 h 148024"/>
                    <a:gd name="connsiteX1" fmla="*/ 247375 w 247374"/>
                    <a:gd name="connsiteY1" fmla="*/ 0 h 148024"/>
                    <a:gd name="connsiteX2" fmla="*/ 247375 w 247374"/>
                    <a:gd name="connsiteY2" fmla="*/ 148025 h 148024"/>
                    <a:gd name="connsiteX3" fmla="*/ 0 w 247374"/>
                    <a:gd name="connsiteY3" fmla="*/ 148025 h 148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74" h="148024">
                      <a:moveTo>
                        <a:pt x="0" y="0"/>
                      </a:moveTo>
                      <a:lnTo>
                        <a:pt x="247375" y="0"/>
                      </a:lnTo>
                      <a:lnTo>
                        <a:pt x="247375" y="148025"/>
                      </a:lnTo>
                      <a:lnTo>
                        <a:pt x="0" y="148025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1" name="îśľîḍé"/>
                <p:cNvSpPr/>
                <p:nvPr/>
              </p:nvSpPr>
              <p:spPr>
                <a:xfrm>
                  <a:off x="3289190" y="4738992"/>
                  <a:ext cx="3333" cy="40386"/>
                </a:xfrm>
                <a:custGeom>
                  <a:avLst/>
                  <a:gdLst>
                    <a:gd name="connsiteX0" fmla="*/ 3334 w 3333"/>
                    <a:gd name="connsiteY0" fmla="*/ 0 h 40386"/>
                    <a:gd name="connsiteX1" fmla="*/ 0 w 3333"/>
                    <a:gd name="connsiteY1" fmla="*/ 40386 h 403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333" h="40386">
                      <a:moveTo>
                        <a:pt x="3334" y="0"/>
                      </a:moveTo>
                      <a:lnTo>
                        <a:pt x="0" y="40386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2" name="iṩḻíḓè"/>
                <p:cNvSpPr/>
                <p:nvPr/>
              </p:nvSpPr>
              <p:spPr>
                <a:xfrm rot="285305">
                  <a:off x="3188314" y="4792314"/>
                  <a:ext cx="56199" cy="56199"/>
                </a:xfrm>
                <a:custGeom>
                  <a:avLst/>
                  <a:gdLst>
                    <a:gd name="connsiteX0" fmla="*/ 0 w 56199"/>
                    <a:gd name="connsiteY0" fmla="*/ 0 h 56199"/>
                    <a:gd name="connsiteX1" fmla="*/ 56200 w 56199"/>
                    <a:gd name="connsiteY1" fmla="*/ 0 h 56199"/>
                    <a:gd name="connsiteX2" fmla="*/ 56200 w 56199"/>
                    <a:gd name="connsiteY2" fmla="*/ 56200 h 56199"/>
                    <a:gd name="connsiteX3" fmla="*/ 0 w 56199"/>
                    <a:gd name="connsiteY3" fmla="*/ 56200 h 561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9" h="56199">
                      <a:moveTo>
                        <a:pt x="0" y="0"/>
                      </a:moveTo>
                      <a:lnTo>
                        <a:pt x="56200" y="0"/>
                      </a:lnTo>
                      <a:lnTo>
                        <a:pt x="56200" y="56200"/>
                      </a:lnTo>
                      <a:lnTo>
                        <a:pt x="0" y="56200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3" name="iŝľiḍè"/>
                <p:cNvSpPr/>
                <p:nvPr/>
              </p:nvSpPr>
              <p:spPr>
                <a:xfrm rot="285305">
                  <a:off x="3274614" y="4801929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4" name="ïşļíḓe"/>
                <p:cNvSpPr/>
                <p:nvPr/>
              </p:nvSpPr>
              <p:spPr>
                <a:xfrm rot="285305">
                  <a:off x="3272709" y="4825366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5" name="íŝḻíḋê"/>
                <p:cNvSpPr/>
                <p:nvPr/>
              </p:nvSpPr>
              <p:spPr>
                <a:xfrm rot="285305">
                  <a:off x="3270709" y="4848794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0 w 116400"/>
                    <a:gd name="connsiteY1" fmla="*/ 0 h 9144"/>
                    <a:gd name="connsiteX2" fmla="*/ 116400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0" y="0"/>
                      </a:lnTo>
                      <a:lnTo>
                        <a:pt x="1164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6" name="íS1iḍê"/>
                <p:cNvSpPr/>
                <p:nvPr/>
              </p:nvSpPr>
              <p:spPr>
                <a:xfrm rot="285305">
                  <a:off x="3268811" y="4872135"/>
                  <a:ext cx="116400" cy="9144"/>
                </a:xfrm>
                <a:custGeom>
                  <a:avLst/>
                  <a:gdLst>
                    <a:gd name="connsiteX0" fmla="*/ 0 w 116400"/>
                    <a:gd name="connsiteY0" fmla="*/ 0 h 9144"/>
                    <a:gd name="connsiteX1" fmla="*/ 116401 w 116400"/>
                    <a:gd name="connsiteY1" fmla="*/ 0 h 9144"/>
                    <a:gd name="connsiteX2" fmla="*/ 116401 w 116400"/>
                    <a:gd name="connsiteY2" fmla="*/ 9144 h 9144"/>
                    <a:gd name="connsiteX3" fmla="*/ 0 w 116400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400" h="9144">
                      <a:moveTo>
                        <a:pt x="0" y="0"/>
                      </a:moveTo>
                      <a:lnTo>
                        <a:pt x="116401" y="0"/>
                      </a:lnTo>
                      <a:lnTo>
                        <a:pt x="116401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207" name="îšḷiḑé"/>
                <p:cNvSpPr/>
                <p:nvPr/>
              </p:nvSpPr>
              <p:spPr>
                <a:xfrm rot="285305">
                  <a:off x="3184415" y="4862611"/>
                  <a:ext cx="56199" cy="9144"/>
                </a:xfrm>
                <a:custGeom>
                  <a:avLst/>
                  <a:gdLst>
                    <a:gd name="connsiteX0" fmla="*/ 0 w 56199"/>
                    <a:gd name="connsiteY0" fmla="*/ 0 h 9144"/>
                    <a:gd name="connsiteX1" fmla="*/ 56200 w 56199"/>
                    <a:gd name="connsiteY1" fmla="*/ 0 h 9144"/>
                    <a:gd name="connsiteX2" fmla="*/ 56200 w 56199"/>
                    <a:gd name="connsiteY2" fmla="*/ 9144 h 9144"/>
                    <a:gd name="connsiteX3" fmla="*/ 0 w 56199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9" h="9144">
                      <a:moveTo>
                        <a:pt x="0" y="0"/>
                      </a:moveTo>
                      <a:lnTo>
                        <a:pt x="56200" y="0"/>
                      </a:lnTo>
                      <a:lnTo>
                        <a:pt x="56200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62" name="îṩľîḑe"/>
              <p:cNvSpPr/>
              <p:nvPr/>
            </p:nvSpPr>
            <p:spPr>
              <a:xfrm>
                <a:off x="2482444" y="4094054"/>
                <a:ext cx="667775" cy="1848326"/>
              </a:xfrm>
              <a:custGeom>
                <a:avLst/>
                <a:gdLst>
                  <a:gd name="connsiteX0" fmla="*/ 667776 w 667775"/>
                  <a:gd name="connsiteY0" fmla="*/ 0 h 1848326"/>
                  <a:gd name="connsiteX1" fmla="*/ 2740 w 667775"/>
                  <a:gd name="connsiteY1" fmla="*/ 1144619 h 1848326"/>
                  <a:gd name="connsiteX2" fmla="*/ 285537 w 667775"/>
                  <a:gd name="connsiteY2" fmla="*/ 1848326 h 1848326"/>
                  <a:gd name="connsiteX3" fmla="*/ 430127 w 667775"/>
                  <a:gd name="connsiteY3" fmla="*/ 1725930 h 1848326"/>
                  <a:gd name="connsiteX4" fmla="*/ 621960 w 667775"/>
                  <a:gd name="connsiteY4" fmla="*/ 550259 h 1848326"/>
                  <a:gd name="connsiteX5" fmla="*/ 667776 w 667775"/>
                  <a:gd name="connsiteY5" fmla="*/ 0 h 18483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67775" h="1848326">
                    <a:moveTo>
                      <a:pt x="667776" y="0"/>
                    </a:moveTo>
                    <a:cubicBezTo>
                      <a:pt x="667776" y="0"/>
                      <a:pt x="95799" y="27051"/>
                      <a:pt x="2740" y="1144619"/>
                    </a:cubicBezTo>
                    <a:cubicBezTo>
                      <a:pt x="-32598" y="1569053"/>
                      <a:pt x="285537" y="1848326"/>
                      <a:pt x="285537" y="1848326"/>
                    </a:cubicBezTo>
                    <a:lnTo>
                      <a:pt x="430127" y="1725930"/>
                    </a:lnTo>
                    <a:cubicBezTo>
                      <a:pt x="430127" y="1725930"/>
                      <a:pt x="-65364" y="1131951"/>
                      <a:pt x="621960" y="550259"/>
                    </a:cubicBezTo>
                    <a:lnTo>
                      <a:pt x="667776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3" name="íṩľïḓé"/>
              <p:cNvSpPr/>
              <p:nvPr/>
            </p:nvSpPr>
            <p:spPr>
              <a:xfrm>
                <a:off x="3500359" y="4137298"/>
                <a:ext cx="528090" cy="1876139"/>
              </a:xfrm>
              <a:custGeom>
                <a:avLst/>
                <a:gdLst>
                  <a:gd name="connsiteX0" fmla="*/ 50197 w 528090"/>
                  <a:gd name="connsiteY0" fmla="*/ 0 h 1876139"/>
                  <a:gd name="connsiteX1" fmla="*/ 517684 w 528090"/>
                  <a:gd name="connsiteY1" fmla="*/ 1228916 h 1876139"/>
                  <a:gd name="connsiteX2" fmla="*/ 122396 w 528090"/>
                  <a:gd name="connsiteY2" fmla="*/ 1876139 h 1876139"/>
                  <a:gd name="connsiteX3" fmla="*/ 0 w 528090"/>
                  <a:gd name="connsiteY3" fmla="*/ 1731550 h 1876139"/>
                  <a:gd name="connsiteX4" fmla="*/ 5144 w 528090"/>
                  <a:gd name="connsiteY4" fmla="*/ 540353 h 1876139"/>
                  <a:gd name="connsiteX5" fmla="*/ 50197 w 528090"/>
                  <a:gd name="connsiteY5" fmla="*/ 0 h 18761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28090" h="1876139">
                    <a:moveTo>
                      <a:pt x="50197" y="0"/>
                    </a:moveTo>
                    <a:cubicBezTo>
                      <a:pt x="50197" y="0"/>
                      <a:pt x="610648" y="111347"/>
                      <a:pt x="517684" y="1228916"/>
                    </a:cubicBezTo>
                    <a:cubicBezTo>
                      <a:pt x="482346" y="1653349"/>
                      <a:pt x="122396" y="1876139"/>
                      <a:pt x="122396" y="1876139"/>
                    </a:cubicBezTo>
                    <a:lnTo>
                      <a:pt x="0" y="1731550"/>
                    </a:lnTo>
                    <a:cubicBezTo>
                      <a:pt x="0" y="1731550"/>
                      <a:pt x="586835" y="1227677"/>
                      <a:pt x="5144" y="540353"/>
                    </a:cubicBezTo>
                    <a:lnTo>
                      <a:pt x="50197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4" name="ïśľídé"/>
              <p:cNvSpPr/>
              <p:nvPr/>
            </p:nvSpPr>
            <p:spPr>
              <a:xfrm>
                <a:off x="2454419" y="4077005"/>
                <a:ext cx="750189" cy="2991421"/>
              </a:xfrm>
              <a:custGeom>
                <a:avLst/>
                <a:gdLst>
                  <a:gd name="connsiteX0" fmla="*/ 695801 w 750189"/>
                  <a:gd name="connsiteY0" fmla="*/ 17050 h 2991421"/>
                  <a:gd name="connsiteX1" fmla="*/ 457105 w 750189"/>
                  <a:gd name="connsiteY1" fmla="*/ 319088 h 2991421"/>
                  <a:gd name="connsiteX2" fmla="*/ 0 w 750189"/>
                  <a:gd name="connsiteY2" fmla="*/ 2952083 h 2991421"/>
                  <a:gd name="connsiteX3" fmla="*/ 472630 w 750189"/>
                  <a:gd name="connsiteY3" fmla="*/ 2991422 h 2991421"/>
                  <a:gd name="connsiteX4" fmla="*/ 750189 w 750189"/>
                  <a:gd name="connsiteY4" fmla="*/ 0 h 29914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50189" h="2991421">
                    <a:moveTo>
                      <a:pt x="695801" y="17050"/>
                    </a:moveTo>
                    <a:lnTo>
                      <a:pt x="457105" y="319088"/>
                    </a:lnTo>
                    <a:lnTo>
                      <a:pt x="0" y="2952083"/>
                    </a:lnTo>
                    <a:lnTo>
                      <a:pt x="472630" y="2991422"/>
                    </a:lnTo>
                    <a:lnTo>
                      <a:pt x="75018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5" name="ïṧlidê"/>
              <p:cNvSpPr/>
              <p:nvPr/>
            </p:nvSpPr>
            <p:spPr>
              <a:xfrm>
                <a:off x="3237945" y="4105485"/>
                <a:ext cx="561403" cy="3035522"/>
              </a:xfrm>
              <a:custGeom>
                <a:avLst/>
                <a:gdLst>
                  <a:gd name="connsiteX0" fmla="*/ 545878 w 561403"/>
                  <a:gd name="connsiteY0" fmla="*/ 363188 h 3035522"/>
                  <a:gd name="connsiteX1" fmla="*/ 278797 w 561403"/>
                  <a:gd name="connsiteY1" fmla="*/ 19050 h 3035522"/>
                  <a:gd name="connsiteX2" fmla="*/ 254032 w 561403"/>
                  <a:gd name="connsiteY2" fmla="*/ 0 h 3035522"/>
                  <a:gd name="connsiteX3" fmla="*/ 0 w 561403"/>
                  <a:gd name="connsiteY3" fmla="*/ 2988850 h 3035522"/>
                  <a:gd name="connsiteX4" fmla="*/ 561403 w 561403"/>
                  <a:gd name="connsiteY4" fmla="*/ 3035522 h 3035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403" h="3035522">
                    <a:moveTo>
                      <a:pt x="545878" y="363188"/>
                    </a:moveTo>
                    <a:lnTo>
                      <a:pt x="278797" y="19050"/>
                    </a:lnTo>
                    <a:lnTo>
                      <a:pt x="254032" y="0"/>
                    </a:lnTo>
                    <a:lnTo>
                      <a:pt x="0" y="2988850"/>
                    </a:lnTo>
                    <a:lnTo>
                      <a:pt x="561403" y="3035522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6" name="í$líḑè"/>
              <p:cNvSpPr/>
              <p:nvPr/>
            </p:nvSpPr>
            <p:spPr>
              <a:xfrm>
                <a:off x="3049160" y="4034238"/>
                <a:ext cx="159067" cy="1718119"/>
              </a:xfrm>
              <a:custGeom>
                <a:avLst/>
                <a:gdLst>
                  <a:gd name="connsiteX0" fmla="*/ 0 w 159067"/>
                  <a:gd name="connsiteY0" fmla="*/ 1718120 h 1718119"/>
                  <a:gd name="connsiteX1" fmla="*/ 62579 w 159067"/>
                  <a:gd name="connsiteY1" fmla="*/ 66008 h 1718119"/>
                  <a:gd name="connsiteX2" fmla="*/ 159067 w 159067"/>
                  <a:gd name="connsiteY2" fmla="*/ 0 h 17181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59067" h="1718119">
                    <a:moveTo>
                      <a:pt x="0" y="1718120"/>
                    </a:moveTo>
                    <a:lnTo>
                      <a:pt x="62579" y="66008"/>
                    </a:lnTo>
                    <a:lnTo>
                      <a:pt x="159067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7" name="îŝľïḑè"/>
              <p:cNvSpPr/>
              <p:nvPr/>
            </p:nvSpPr>
            <p:spPr>
              <a:xfrm>
                <a:off x="3516567" y="4963592"/>
                <a:ext cx="228203" cy="256612"/>
              </a:xfrm>
              <a:custGeom>
                <a:avLst/>
                <a:gdLst>
                  <a:gd name="connsiteX0" fmla="*/ 2175 w 228203"/>
                  <a:gd name="connsiteY0" fmla="*/ 0 h 256612"/>
                  <a:gd name="connsiteX1" fmla="*/ 228204 w 228203"/>
                  <a:gd name="connsiteY1" fmla="*/ 18764 h 256612"/>
                  <a:gd name="connsiteX2" fmla="*/ 97044 w 228203"/>
                  <a:gd name="connsiteY2" fmla="*/ 256318 h 256612"/>
                  <a:gd name="connsiteX3" fmla="*/ 2175 w 228203"/>
                  <a:gd name="connsiteY3" fmla="*/ 0 h 256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203" h="256612">
                    <a:moveTo>
                      <a:pt x="2175" y="0"/>
                    </a:moveTo>
                    <a:lnTo>
                      <a:pt x="228204" y="18764"/>
                    </a:lnTo>
                    <a:cubicBezTo>
                      <a:pt x="228204" y="18764"/>
                      <a:pt x="216869" y="266319"/>
                      <a:pt x="97044" y="256318"/>
                    </a:cubicBezTo>
                    <a:cubicBezTo>
                      <a:pt x="-22876" y="246412"/>
                      <a:pt x="2175" y="0"/>
                      <a:pt x="2175" y="0"/>
                    </a:cubicBez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8" name="îš1ïḓé"/>
              <p:cNvSpPr/>
              <p:nvPr/>
            </p:nvSpPr>
            <p:spPr>
              <a:xfrm>
                <a:off x="3347578" y="4058050"/>
                <a:ext cx="230886" cy="1719167"/>
              </a:xfrm>
              <a:custGeom>
                <a:avLst/>
                <a:gdLst>
                  <a:gd name="connsiteX0" fmla="*/ 0 w 230886"/>
                  <a:gd name="connsiteY0" fmla="*/ 1719167 h 1719167"/>
                  <a:gd name="connsiteX1" fmla="*/ 230886 w 230886"/>
                  <a:gd name="connsiteY1" fmla="*/ 80963 h 1719167"/>
                  <a:gd name="connsiteX2" fmla="*/ 146685 w 230886"/>
                  <a:gd name="connsiteY2" fmla="*/ 0 h 1719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30886" h="1719167">
                    <a:moveTo>
                      <a:pt x="0" y="1719167"/>
                    </a:moveTo>
                    <a:lnTo>
                      <a:pt x="230886" y="80963"/>
                    </a:lnTo>
                    <a:lnTo>
                      <a:pt x="146685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69" name="图形 278"/>
              <p:cNvGrpSpPr/>
              <p:nvPr/>
            </p:nvGrpSpPr>
            <p:grpSpPr>
              <a:xfrm>
                <a:off x="2840218" y="4060821"/>
                <a:ext cx="819392" cy="715011"/>
                <a:chOff x="2840218" y="4060821"/>
                <a:chExt cx="819392" cy="715011"/>
              </a:xfrm>
              <a:solidFill>
                <a:schemeClr val="accent1"/>
              </a:solidFill>
            </p:grpSpPr>
            <p:sp>
              <p:nvSpPr>
                <p:cNvPr id="193" name="íṣlîḋe"/>
                <p:cNvSpPr/>
                <p:nvPr/>
              </p:nvSpPr>
              <p:spPr>
                <a:xfrm>
                  <a:off x="2861612" y="4305073"/>
                  <a:ext cx="211839" cy="449390"/>
                </a:xfrm>
                <a:custGeom>
                  <a:avLst/>
                  <a:gdLst>
                    <a:gd name="connsiteX0" fmla="*/ 170783 w 211839"/>
                    <a:gd name="connsiteY0" fmla="*/ 448873 h 449390"/>
                    <a:gd name="connsiteX1" fmla="*/ 104870 w 211839"/>
                    <a:gd name="connsiteY1" fmla="*/ 131500 h 449390"/>
                    <a:gd name="connsiteX2" fmla="*/ 185738 w 211839"/>
                    <a:gd name="connsiteY2" fmla="*/ 1389 h 449390"/>
                    <a:gd name="connsiteX3" fmla="*/ 195072 w 211839"/>
                    <a:gd name="connsiteY3" fmla="*/ 156551 h 449390"/>
                    <a:gd name="connsiteX4" fmla="*/ 0 w 211839"/>
                    <a:gd name="connsiteY4" fmla="*/ 415441 h 44939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211839" h="449390">
                      <a:moveTo>
                        <a:pt x="170783" y="448873"/>
                      </a:moveTo>
                      <a:cubicBezTo>
                        <a:pt x="170783" y="448873"/>
                        <a:pt x="41243" y="476305"/>
                        <a:pt x="104870" y="131500"/>
                      </a:cubicBezTo>
                      <a:cubicBezTo>
                        <a:pt x="104870" y="131500"/>
                        <a:pt x="133064" y="-15756"/>
                        <a:pt x="185738" y="1389"/>
                      </a:cubicBezTo>
                      <a:cubicBezTo>
                        <a:pt x="238411" y="18534"/>
                        <a:pt x="195072" y="156551"/>
                        <a:pt x="195072" y="156551"/>
                      </a:cubicBezTo>
                      <a:cubicBezTo>
                        <a:pt x="105537" y="495451"/>
                        <a:pt x="0" y="415441"/>
                        <a:pt x="0" y="415441"/>
                      </a:cubicBezTo>
                    </a:path>
                  </a:pathLst>
                </a:custGeom>
                <a:noFill/>
                <a:ln w="14779" cap="flat">
                  <a:solidFill>
                    <a:srgbClr val="5B7FC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4" name="íśḷiḋê"/>
                <p:cNvSpPr/>
                <p:nvPr/>
              </p:nvSpPr>
              <p:spPr>
                <a:xfrm>
                  <a:off x="3047350" y="4060821"/>
                  <a:ext cx="561308" cy="575586"/>
                </a:xfrm>
                <a:custGeom>
                  <a:avLst/>
                  <a:gdLst>
                    <a:gd name="connsiteX0" fmla="*/ 0 w 561308"/>
                    <a:gd name="connsiteY0" fmla="*/ 245736 h 575586"/>
                    <a:gd name="connsiteX1" fmla="*/ 319469 w 561308"/>
                    <a:gd name="connsiteY1" fmla="*/ 1801 h 575586"/>
                    <a:gd name="connsiteX2" fmla="*/ 561308 w 561308"/>
                    <a:gd name="connsiteY2" fmla="*/ 575587 h 5755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61308" h="575586">
                      <a:moveTo>
                        <a:pt x="0" y="245736"/>
                      </a:moveTo>
                      <a:cubicBezTo>
                        <a:pt x="0" y="245736"/>
                        <a:pt x="3429" y="-24488"/>
                        <a:pt x="319469" y="1801"/>
                      </a:cubicBezTo>
                      <a:cubicBezTo>
                        <a:pt x="635508" y="28090"/>
                        <a:pt x="493586" y="433188"/>
                        <a:pt x="561308" y="575587"/>
                      </a:cubicBezTo>
                    </a:path>
                  </a:pathLst>
                </a:custGeom>
                <a:noFill/>
                <a:ln w="14779" cap="flat">
                  <a:solidFill>
                    <a:srgbClr val="5B7FCD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5" name="îṥľîdè"/>
                <p:cNvSpPr/>
                <p:nvPr/>
              </p:nvSpPr>
              <p:spPr>
                <a:xfrm rot="-5216342">
                  <a:off x="2841278" y="4700057"/>
                  <a:ext cx="40768" cy="40768"/>
                </a:xfrm>
                <a:custGeom>
                  <a:avLst/>
                  <a:gdLst>
                    <a:gd name="connsiteX0" fmla="*/ 40768 w 40768"/>
                    <a:gd name="connsiteY0" fmla="*/ 20384 h 40768"/>
                    <a:gd name="connsiteX1" fmla="*/ 20384 w 40768"/>
                    <a:gd name="connsiteY1" fmla="*/ 40768 h 40768"/>
                    <a:gd name="connsiteX2" fmla="*/ 0 w 40768"/>
                    <a:gd name="connsiteY2" fmla="*/ 20384 h 40768"/>
                    <a:gd name="connsiteX3" fmla="*/ 20384 w 40768"/>
                    <a:gd name="connsiteY3" fmla="*/ 0 h 40768"/>
                    <a:gd name="connsiteX4" fmla="*/ 40768 w 40768"/>
                    <a:gd name="connsiteY4" fmla="*/ 20384 h 407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8" h="40768">
                      <a:moveTo>
                        <a:pt x="40768" y="20384"/>
                      </a:moveTo>
                      <a:cubicBezTo>
                        <a:pt x="40768" y="31642"/>
                        <a:pt x="31642" y="40768"/>
                        <a:pt x="20384" y="40768"/>
                      </a:cubicBezTo>
                      <a:cubicBezTo>
                        <a:pt x="9126" y="40768"/>
                        <a:pt x="0" y="31642"/>
                        <a:pt x="0" y="20384"/>
                      </a:cubicBezTo>
                      <a:cubicBezTo>
                        <a:pt x="0" y="9126"/>
                        <a:pt x="9126" y="0"/>
                        <a:pt x="20384" y="0"/>
                      </a:cubicBezTo>
                      <a:cubicBezTo>
                        <a:pt x="31642" y="0"/>
                        <a:pt x="40768" y="9126"/>
                        <a:pt x="40768" y="20384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6" name="ïSḻïde"/>
                <p:cNvSpPr/>
                <p:nvPr/>
              </p:nvSpPr>
              <p:spPr>
                <a:xfrm>
                  <a:off x="3557610" y="4585455"/>
                  <a:ext cx="102000" cy="102001"/>
                </a:xfrm>
                <a:custGeom>
                  <a:avLst/>
                  <a:gdLst>
                    <a:gd name="connsiteX0" fmla="*/ 184 w 102000"/>
                    <a:gd name="connsiteY0" fmla="*/ 46762 h 102001"/>
                    <a:gd name="connsiteX1" fmla="*/ 46762 w 102000"/>
                    <a:gd name="connsiteY1" fmla="*/ 101817 h 102001"/>
                    <a:gd name="connsiteX2" fmla="*/ 101816 w 102000"/>
                    <a:gd name="connsiteY2" fmla="*/ 55240 h 102001"/>
                    <a:gd name="connsiteX3" fmla="*/ 55239 w 102000"/>
                    <a:gd name="connsiteY3" fmla="*/ 185 h 102001"/>
                    <a:gd name="connsiteX4" fmla="*/ 184 w 102000"/>
                    <a:gd name="connsiteY4" fmla="*/ 46762 h 10200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000" h="102001">
                      <a:moveTo>
                        <a:pt x="184" y="46762"/>
                      </a:moveTo>
                      <a:cubicBezTo>
                        <a:pt x="-2197" y="74861"/>
                        <a:pt x="18758" y="99531"/>
                        <a:pt x="46762" y="101817"/>
                      </a:cubicBezTo>
                      <a:cubicBezTo>
                        <a:pt x="74860" y="104198"/>
                        <a:pt x="99530" y="83243"/>
                        <a:pt x="101816" y="55240"/>
                      </a:cubicBezTo>
                      <a:cubicBezTo>
                        <a:pt x="104198" y="27141"/>
                        <a:pt x="83242" y="2471"/>
                        <a:pt x="55239" y="185"/>
                      </a:cubicBezTo>
                      <a:cubicBezTo>
                        <a:pt x="27140" y="-2196"/>
                        <a:pt x="2470" y="18664"/>
                        <a:pt x="184" y="46762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7" name="işļiḓe"/>
                <p:cNvSpPr/>
                <p:nvPr/>
              </p:nvSpPr>
              <p:spPr>
                <a:xfrm>
                  <a:off x="3581893" y="4609738"/>
                  <a:ext cx="53435" cy="53435"/>
                </a:xfrm>
                <a:custGeom>
                  <a:avLst/>
                  <a:gdLst>
                    <a:gd name="connsiteX0" fmla="*/ 95 w 53435"/>
                    <a:gd name="connsiteY0" fmla="*/ 24479 h 53435"/>
                    <a:gd name="connsiteX1" fmla="*/ 24479 w 53435"/>
                    <a:gd name="connsiteY1" fmla="*/ 53340 h 53435"/>
                    <a:gd name="connsiteX2" fmla="*/ 53340 w 53435"/>
                    <a:gd name="connsiteY2" fmla="*/ 28956 h 53435"/>
                    <a:gd name="connsiteX3" fmla="*/ 28956 w 53435"/>
                    <a:gd name="connsiteY3" fmla="*/ 95 h 53435"/>
                    <a:gd name="connsiteX4" fmla="*/ 95 w 53435"/>
                    <a:gd name="connsiteY4" fmla="*/ 24479 h 534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35" h="53435">
                      <a:moveTo>
                        <a:pt x="95" y="24479"/>
                      </a:moveTo>
                      <a:cubicBezTo>
                        <a:pt x="-1143" y="39148"/>
                        <a:pt x="9811" y="52102"/>
                        <a:pt x="24479" y="53340"/>
                      </a:cubicBezTo>
                      <a:cubicBezTo>
                        <a:pt x="39148" y="54578"/>
                        <a:pt x="52102" y="43625"/>
                        <a:pt x="53340" y="28956"/>
                      </a:cubicBezTo>
                      <a:cubicBezTo>
                        <a:pt x="54578" y="14288"/>
                        <a:pt x="43624" y="1334"/>
                        <a:pt x="28956" y="95"/>
                      </a:cubicBezTo>
                      <a:cubicBezTo>
                        <a:pt x="14192" y="-1143"/>
                        <a:pt x="1334" y="9811"/>
                        <a:pt x="95" y="24479"/>
                      </a:cubicBezTo>
                      <a:close/>
                    </a:path>
                  </a:pathLst>
                </a:custGeom>
                <a:solidFill>
                  <a:srgbClr val="E8E7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8" name="îsḻíḓè"/>
                <p:cNvSpPr/>
                <p:nvPr/>
              </p:nvSpPr>
              <p:spPr>
                <a:xfrm>
                  <a:off x="3014700" y="4735108"/>
                  <a:ext cx="40724" cy="40724"/>
                </a:xfrm>
                <a:custGeom>
                  <a:avLst/>
                  <a:gdLst>
                    <a:gd name="connsiteX0" fmla="*/ 74 w 40724"/>
                    <a:gd name="connsiteY0" fmla="*/ 18648 h 40724"/>
                    <a:gd name="connsiteX1" fmla="*/ 18648 w 40724"/>
                    <a:gd name="connsiteY1" fmla="*/ 40651 h 40724"/>
                    <a:gd name="connsiteX2" fmla="*/ 40650 w 40724"/>
                    <a:gd name="connsiteY2" fmla="*/ 22077 h 40724"/>
                    <a:gd name="connsiteX3" fmla="*/ 22076 w 40724"/>
                    <a:gd name="connsiteY3" fmla="*/ 75 h 40724"/>
                    <a:gd name="connsiteX4" fmla="*/ 74 w 40724"/>
                    <a:gd name="connsiteY4" fmla="*/ 18648 h 407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24" h="40724">
                      <a:moveTo>
                        <a:pt x="74" y="18648"/>
                      </a:moveTo>
                      <a:cubicBezTo>
                        <a:pt x="-879" y="29888"/>
                        <a:pt x="7503" y="39698"/>
                        <a:pt x="18648" y="40651"/>
                      </a:cubicBezTo>
                      <a:cubicBezTo>
                        <a:pt x="29887" y="41604"/>
                        <a:pt x="39698" y="33222"/>
                        <a:pt x="40650" y="22077"/>
                      </a:cubicBezTo>
                      <a:cubicBezTo>
                        <a:pt x="41603" y="10838"/>
                        <a:pt x="33221" y="1027"/>
                        <a:pt x="22076" y="75"/>
                      </a:cubicBezTo>
                      <a:cubicBezTo>
                        <a:pt x="10837" y="-878"/>
                        <a:pt x="1026" y="7409"/>
                        <a:pt x="74" y="18648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70" name="îṧḻiďe"/>
              <p:cNvSpPr/>
              <p:nvPr/>
            </p:nvSpPr>
            <p:spPr>
              <a:xfrm>
                <a:off x="3192765" y="3912889"/>
                <a:ext cx="313213" cy="407593"/>
              </a:xfrm>
              <a:custGeom>
                <a:avLst/>
                <a:gdLst>
                  <a:gd name="connsiteX0" fmla="*/ 80614 w 313213"/>
                  <a:gd name="connsiteY0" fmla="*/ 397955 h 407593"/>
                  <a:gd name="connsiteX1" fmla="*/ 193008 w 313213"/>
                  <a:gd name="connsiteY1" fmla="*/ 407289 h 407593"/>
                  <a:gd name="connsiteX2" fmla="*/ 287973 w 313213"/>
                  <a:gd name="connsiteY2" fmla="*/ 326898 h 407593"/>
                  <a:gd name="connsiteX3" fmla="*/ 313214 w 313213"/>
                  <a:gd name="connsiteY3" fmla="*/ 23908 h 407593"/>
                  <a:gd name="connsiteX4" fmla="*/ 25559 w 313213"/>
                  <a:gd name="connsiteY4" fmla="*/ 0 h 407593"/>
                  <a:gd name="connsiteX5" fmla="*/ 318 w 313213"/>
                  <a:gd name="connsiteY5" fmla="*/ 302990 h 407593"/>
                  <a:gd name="connsiteX6" fmla="*/ 80614 w 313213"/>
                  <a:gd name="connsiteY6" fmla="*/ 397955 h 4075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13213" h="407593">
                    <a:moveTo>
                      <a:pt x="80614" y="397955"/>
                    </a:moveTo>
                    <a:lnTo>
                      <a:pt x="193008" y="407289"/>
                    </a:lnTo>
                    <a:cubicBezTo>
                      <a:pt x="241395" y="411289"/>
                      <a:pt x="283972" y="375380"/>
                      <a:pt x="287973" y="326898"/>
                    </a:cubicBezTo>
                    <a:lnTo>
                      <a:pt x="313214" y="23908"/>
                    </a:lnTo>
                    <a:lnTo>
                      <a:pt x="25559" y="0"/>
                    </a:lnTo>
                    <a:lnTo>
                      <a:pt x="318" y="302990"/>
                    </a:lnTo>
                    <a:cubicBezTo>
                      <a:pt x="-3778" y="351472"/>
                      <a:pt x="32226" y="393954"/>
                      <a:pt x="80614" y="397955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1" name="ïŝľîḍe"/>
              <p:cNvSpPr/>
              <p:nvPr/>
            </p:nvSpPr>
            <p:spPr>
              <a:xfrm>
                <a:off x="3130411" y="3354580"/>
                <a:ext cx="497748" cy="661716"/>
              </a:xfrm>
              <a:custGeom>
                <a:avLst/>
                <a:gdLst>
                  <a:gd name="connsiteX0" fmla="*/ 1901 w 497748"/>
                  <a:gd name="connsiteY0" fmla="*/ 356379 h 661716"/>
                  <a:gd name="connsiteX1" fmla="*/ 198879 w 497748"/>
                  <a:gd name="connsiteY1" fmla="*/ 660798 h 661716"/>
                  <a:gd name="connsiteX2" fmla="*/ 490248 w 497748"/>
                  <a:gd name="connsiteY2" fmla="*/ 397050 h 661716"/>
                  <a:gd name="connsiteX3" fmla="*/ 277269 w 497748"/>
                  <a:gd name="connsiteY3" fmla="*/ 1477 h 661716"/>
                  <a:gd name="connsiteX4" fmla="*/ 1901 w 497748"/>
                  <a:gd name="connsiteY4" fmla="*/ 356379 h 661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7748" h="661716">
                    <a:moveTo>
                      <a:pt x="1901" y="356379"/>
                    </a:moveTo>
                    <a:cubicBezTo>
                      <a:pt x="-13338" y="539259"/>
                      <a:pt x="64005" y="649558"/>
                      <a:pt x="198879" y="660798"/>
                    </a:cubicBezTo>
                    <a:cubicBezTo>
                      <a:pt x="333753" y="672037"/>
                      <a:pt x="475104" y="579930"/>
                      <a:pt x="490248" y="397050"/>
                    </a:cubicBezTo>
                    <a:cubicBezTo>
                      <a:pt x="505488" y="214170"/>
                      <a:pt x="521490" y="21765"/>
                      <a:pt x="277269" y="1477"/>
                    </a:cubicBezTo>
                    <a:cubicBezTo>
                      <a:pt x="33143" y="-18811"/>
                      <a:pt x="17142" y="173499"/>
                      <a:pt x="1901" y="356379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2" name="ïšḷîďê"/>
              <p:cNvSpPr/>
              <p:nvPr/>
            </p:nvSpPr>
            <p:spPr>
              <a:xfrm>
                <a:off x="3588179" y="3669725"/>
                <a:ext cx="103791" cy="168392"/>
              </a:xfrm>
              <a:custGeom>
                <a:avLst/>
                <a:gdLst>
                  <a:gd name="connsiteX0" fmla="*/ 103346 w 103791"/>
                  <a:gd name="connsiteY0" fmla="*/ 72857 h 168392"/>
                  <a:gd name="connsiteX1" fmla="*/ 0 w 103791"/>
                  <a:gd name="connsiteY1" fmla="*/ 168393 h 168392"/>
                  <a:gd name="connsiteX2" fmla="*/ 13811 w 103791"/>
                  <a:gd name="connsiteY2" fmla="*/ 2944 h 168392"/>
                  <a:gd name="connsiteX3" fmla="*/ 103346 w 103791"/>
                  <a:gd name="connsiteY3" fmla="*/ 72857 h 168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3791" h="168392">
                    <a:moveTo>
                      <a:pt x="103346" y="72857"/>
                    </a:moveTo>
                    <a:cubicBezTo>
                      <a:pt x="95440" y="167631"/>
                      <a:pt x="0" y="168393"/>
                      <a:pt x="0" y="168393"/>
                    </a:cubicBezTo>
                    <a:lnTo>
                      <a:pt x="13811" y="2944"/>
                    </a:lnTo>
                    <a:cubicBezTo>
                      <a:pt x="13716" y="2944"/>
                      <a:pt x="111157" y="-21917"/>
                      <a:pt x="103346" y="72857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3" name="ïṥľiḍe"/>
              <p:cNvSpPr/>
              <p:nvPr/>
            </p:nvSpPr>
            <p:spPr>
              <a:xfrm>
                <a:off x="3608658" y="3709322"/>
                <a:ext cx="50555" cy="90696"/>
              </a:xfrm>
              <a:custGeom>
                <a:avLst/>
                <a:gdLst>
                  <a:gd name="connsiteX0" fmla="*/ 50292 w 50555"/>
                  <a:gd name="connsiteY0" fmla="*/ 38880 h 90696"/>
                  <a:gd name="connsiteX1" fmla="*/ 0 w 50555"/>
                  <a:gd name="connsiteY1" fmla="*/ 90696 h 90696"/>
                  <a:gd name="connsiteX2" fmla="*/ 7429 w 50555"/>
                  <a:gd name="connsiteY2" fmla="*/ 1637 h 90696"/>
                  <a:gd name="connsiteX3" fmla="*/ 50292 w 50555"/>
                  <a:gd name="connsiteY3" fmla="*/ 38880 h 90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555" h="90696">
                    <a:moveTo>
                      <a:pt x="50292" y="38880"/>
                    </a:moveTo>
                    <a:cubicBezTo>
                      <a:pt x="46006" y="89934"/>
                      <a:pt x="0" y="90696"/>
                      <a:pt x="0" y="90696"/>
                    </a:cubicBezTo>
                    <a:lnTo>
                      <a:pt x="7429" y="1637"/>
                    </a:lnTo>
                    <a:cubicBezTo>
                      <a:pt x="7334" y="1733"/>
                      <a:pt x="54483" y="-12079"/>
                      <a:pt x="50292" y="38880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4" name="îśľîḍe"/>
              <p:cNvSpPr/>
              <p:nvPr/>
            </p:nvSpPr>
            <p:spPr>
              <a:xfrm>
                <a:off x="3439619" y="3654415"/>
                <a:ext cx="66520" cy="49651"/>
              </a:xfrm>
              <a:custGeom>
                <a:avLst/>
                <a:gdLst>
                  <a:gd name="connsiteX0" fmla="*/ 66455 w 66520"/>
                  <a:gd name="connsiteY0" fmla="*/ 27588 h 49651"/>
                  <a:gd name="connsiteX1" fmla="*/ 31212 w 66520"/>
                  <a:gd name="connsiteY1" fmla="*/ 49496 h 49651"/>
                  <a:gd name="connsiteX2" fmla="*/ 65 w 66520"/>
                  <a:gd name="connsiteY2" fmla="*/ 22064 h 49651"/>
                  <a:gd name="connsiteX3" fmla="*/ 35308 w 66520"/>
                  <a:gd name="connsiteY3" fmla="*/ 156 h 49651"/>
                  <a:gd name="connsiteX4" fmla="*/ 66455 w 66520"/>
                  <a:gd name="connsiteY4" fmla="*/ 27588 h 49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20" h="49651">
                    <a:moveTo>
                      <a:pt x="66455" y="27588"/>
                    </a:moveTo>
                    <a:cubicBezTo>
                      <a:pt x="65312" y="41209"/>
                      <a:pt x="49595" y="51020"/>
                      <a:pt x="31212" y="49496"/>
                    </a:cubicBezTo>
                    <a:cubicBezTo>
                      <a:pt x="12924" y="47972"/>
                      <a:pt x="-1078" y="35684"/>
                      <a:pt x="65" y="22064"/>
                    </a:cubicBezTo>
                    <a:cubicBezTo>
                      <a:pt x="1208" y="8443"/>
                      <a:pt x="16924" y="-1368"/>
                      <a:pt x="35308" y="156"/>
                    </a:cubicBezTo>
                    <a:cubicBezTo>
                      <a:pt x="53691" y="1680"/>
                      <a:pt x="67598" y="13967"/>
                      <a:pt x="66455" y="275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5" name="ïSḻidè"/>
              <p:cNvSpPr/>
              <p:nvPr/>
            </p:nvSpPr>
            <p:spPr>
              <a:xfrm>
                <a:off x="3206066" y="3634984"/>
                <a:ext cx="66520" cy="49651"/>
              </a:xfrm>
              <a:custGeom>
                <a:avLst/>
                <a:gdLst>
                  <a:gd name="connsiteX0" fmla="*/ 66455 w 66520"/>
                  <a:gd name="connsiteY0" fmla="*/ 27588 h 49651"/>
                  <a:gd name="connsiteX1" fmla="*/ 31212 w 66520"/>
                  <a:gd name="connsiteY1" fmla="*/ 49496 h 49651"/>
                  <a:gd name="connsiteX2" fmla="*/ 65 w 66520"/>
                  <a:gd name="connsiteY2" fmla="*/ 22064 h 49651"/>
                  <a:gd name="connsiteX3" fmla="*/ 35308 w 66520"/>
                  <a:gd name="connsiteY3" fmla="*/ 156 h 49651"/>
                  <a:gd name="connsiteX4" fmla="*/ 66455 w 66520"/>
                  <a:gd name="connsiteY4" fmla="*/ 27588 h 496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6520" h="49651">
                    <a:moveTo>
                      <a:pt x="66455" y="27588"/>
                    </a:moveTo>
                    <a:cubicBezTo>
                      <a:pt x="65312" y="41209"/>
                      <a:pt x="49595" y="51020"/>
                      <a:pt x="31212" y="49496"/>
                    </a:cubicBezTo>
                    <a:cubicBezTo>
                      <a:pt x="12924" y="47972"/>
                      <a:pt x="-1078" y="35684"/>
                      <a:pt x="65" y="22064"/>
                    </a:cubicBezTo>
                    <a:cubicBezTo>
                      <a:pt x="1209" y="8443"/>
                      <a:pt x="16925" y="-1368"/>
                      <a:pt x="35308" y="156"/>
                    </a:cubicBezTo>
                    <a:cubicBezTo>
                      <a:pt x="53691" y="1680"/>
                      <a:pt x="67598" y="13967"/>
                      <a:pt x="66455" y="2758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6" name="íš1îdè"/>
              <p:cNvSpPr/>
              <p:nvPr/>
            </p:nvSpPr>
            <p:spPr>
              <a:xfrm>
                <a:off x="3446766" y="3656033"/>
                <a:ext cx="39571" cy="39558"/>
              </a:xfrm>
              <a:custGeom>
                <a:avLst/>
                <a:gdLst>
                  <a:gd name="connsiteX0" fmla="*/ 39496 w 39571"/>
                  <a:gd name="connsiteY0" fmla="*/ 21398 h 39558"/>
                  <a:gd name="connsiteX1" fmla="*/ 18160 w 39571"/>
                  <a:gd name="connsiteY1" fmla="*/ 39496 h 39558"/>
                  <a:gd name="connsiteX2" fmla="*/ 62 w 39571"/>
                  <a:gd name="connsiteY2" fmla="*/ 18160 h 39558"/>
                  <a:gd name="connsiteX3" fmla="*/ 21398 w 39571"/>
                  <a:gd name="connsiteY3" fmla="*/ 62 h 39558"/>
                  <a:gd name="connsiteX4" fmla="*/ 39496 w 39571"/>
                  <a:gd name="connsiteY4" fmla="*/ 21398 h 39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71" h="39558">
                    <a:moveTo>
                      <a:pt x="39496" y="21398"/>
                    </a:moveTo>
                    <a:cubicBezTo>
                      <a:pt x="38543" y="32257"/>
                      <a:pt x="29018" y="40353"/>
                      <a:pt x="18160" y="39496"/>
                    </a:cubicBezTo>
                    <a:cubicBezTo>
                      <a:pt x="7301" y="38543"/>
                      <a:pt x="-795" y="29018"/>
                      <a:pt x="62" y="18160"/>
                    </a:cubicBezTo>
                    <a:cubicBezTo>
                      <a:pt x="1015" y="7301"/>
                      <a:pt x="10540" y="-795"/>
                      <a:pt x="21398" y="62"/>
                    </a:cubicBezTo>
                    <a:cubicBezTo>
                      <a:pt x="32352" y="920"/>
                      <a:pt x="40448" y="10445"/>
                      <a:pt x="39496" y="21398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7" name="îṥļîḋê"/>
              <p:cNvSpPr/>
              <p:nvPr/>
            </p:nvSpPr>
            <p:spPr>
              <a:xfrm>
                <a:off x="3213213" y="3636602"/>
                <a:ext cx="39572" cy="39558"/>
              </a:xfrm>
              <a:custGeom>
                <a:avLst/>
                <a:gdLst>
                  <a:gd name="connsiteX0" fmla="*/ 39496 w 39572"/>
                  <a:gd name="connsiteY0" fmla="*/ 21398 h 39558"/>
                  <a:gd name="connsiteX1" fmla="*/ 18160 w 39572"/>
                  <a:gd name="connsiteY1" fmla="*/ 39496 h 39558"/>
                  <a:gd name="connsiteX2" fmla="*/ 62 w 39572"/>
                  <a:gd name="connsiteY2" fmla="*/ 18160 h 39558"/>
                  <a:gd name="connsiteX3" fmla="*/ 21398 w 39572"/>
                  <a:gd name="connsiteY3" fmla="*/ 62 h 39558"/>
                  <a:gd name="connsiteX4" fmla="*/ 39496 w 39572"/>
                  <a:gd name="connsiteY4" fmla="*/ 21398 h 39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72" h="39558">
                    <a:moveTo>
                      <a:pt x="39496" y="21398"/>
                    </a:moveTo>
                    <a:cubicBezTo>
                      <a:pt x="38543" y="32257"/>
                      <a:pt x="29018" y="40353"/>
                      <a:pt x="18160" y="39496"/>
                    </a:cubicBezTo>
                    <a:cubicBezTo>
                      <a:pt x="7301" y="38543"/>
                      <a:pt x="-795" y="29018"/>
                      <a:pt x="62" y="18160"/>
                    </a:cubicBezTo>
                    <a:cubicBezTo>
                      <a:pt x="1015" y="7301"/>
                      <a:pt x="10540" y="-795"/>
                      <a:pt x="21398" y="62"/>
                    </a:cubicBezTo>
                    <a:cubicBezTo>
                      <a:pt x="32352" y="920"/>
                      <a:pt x="40448" y="10445"/>
                      <a:pt x="39496" y="21398"/>
                    </a:cubicBezTo>
                    <a:close/>
                  </a:path>
                </a:pathLst>
              </a:custGeom>
              <a:solidFill>
                <a:srgbClr val="262739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8" name="íşliḑe"/>
              <p:cNvSpPr/>
              <p:nvPr/>
            </p:nvSpPr>
            <p:spPr>
              <a:xfrm>
                <a:off x="3301586" y="3686480"/>
                <a:ext cx="55136" cy="131445"/>
              </a:xfrm>
              <a:custGeom>
                <a:avLst/>
                <a:gdLst>
                  <a:gd name="connsiteX0" fmla="*/ 55136 w 55136"/>
                  <a:gd name="connsiteY0" fmla="*/ 0 h 131445"/>
                  <a:gd name="connsiteX1" fmla="*/ 44182 w 55136"/>
                  <a:gd name="connsiteY1" fmla="*/ 131445 h 131445"/>
                  <a:gd name="connsiteX2" fmla="*/ 55136 w 55136"/>
                  <a:gd name="connsiteY2" fmla="*/ 0 h 1314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5136" h="131445">
                    <a:moveTo>
                      <a:pt x="55136" y="0"/>
                    </a:moveTo>
                    <a:lnTo>
                      <a:pt x="44182" y="131445"/>
                    </a:lnTo>
                    <a:cubicBezTo>
                      <a:pt x="-61259" y="122682"/>
                      <a:pt x="55136" y="0"/>
                      <a:pt x="55136" y="0"/>
                    </a:cubicBezTo>
                    <a:close/>
                  </a:path>
                </a:pathLst>
              </a:custGeom>
              <a:solidFill>
                <a:srgbClr val="F39798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9" name="ïṩľïḍé"/>
              <p:cNvSpPr/>
              <p:nvPr/>
            </p:nvSpPr>
            <p:spPr>
              <a:xfrm>
                <a:off x="3285379" y="3855072"/>
                <a:ext cx="113728" cy="18055"/>
              </a:xfrm>
              <a:custGeom>
                <a:avLst/>
                <a:gdLst>
                  <a:gd name="connsiteX0" fmla="*/ 113729 w 113728"/>
                  <a:gd name="connsiteY0" fmla="*/ 9430 h 18055"/>
                  <a:gd name="connsiteX1" fmla="*/ 0 w 113728"/>
                  <a:gd name="connsiteY1" fmla="*/ 0 h 180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13728" h="18055">
                    <a:moveTo>
                      <a:pt x="113729" y="9430"/>
                    </a:moveTo>
                    <a:cubicBezTo>
                      <a:pt x="113729" y="9430"/>
                      <a:pt x="54388" y="34099"/>
                      <a:pt x="0" y="0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0" name="ïśliḓè"/>
              <p:cNvSpPr/>
              <p:nvPr/>
            </p:nvSpPr>
            <p:spPr>
              <a:xfrm>
                <a:off x="3439780" y="3628835"/>
                <a:ext cx="72675" cy="15163"/>
              </a:xfrm>
              <a:custGeom>
                <a:avLst/>
                <a:gdLst>
                  <a:gd name="connsiteX0" fmla="*/ 0 w 72675"/>
                  <a:gd name="connsiteY0" fmla="*/ 9068 h 15163"/>
                  <a:gd name="connsiteX1" fmla="*/ 72676 w 72675"/>
                  <a:gd name="connsiteY1" fmla="*/ 15164 h 1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75" h="15163">
                    <a:moveTo>
                      <a:pt x="0" y="9068"/>
                    </a:moveTo>
                    <a:cubicBezTo>
                      <a:pt x="0" y="9068"/>
                      <a:pt x="38576" y="-14935"/>
                      <a:pt x="72676" y="1516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1" name="išḷíḋe"/>
              <p:cNvSpPr/>
              <p:nvPr/>
            </p:nvSpPr>
            <p:spPr>
              <a:xfrm>
                <a:off x="3206227" y="3609403"/>
                <a:ext cx="72675" cy="15163"/>
              </a:xfrm>
              <a:custGeom>
                <a:avLst/>
                <a:gdLst>
                  <a:gd name="connsiteX0" fmla="*/ 0 w 72675"/>
                  <a:gd name="connsiteY0" fmla="*/ 9068 h 15163"/>
                  <a:gd name="connsiteX1" fmla="*/ 72676 w 72675"/>
                  <a:gd name="connsiteY1" fmla="*/ 15164 h 151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72675" h="15163">
                    <a:moveTo>
                      <a:pt x="0" y="9068"/>
                    </a:moveTo>
                    <a:cubicBezTo>
                      <a:pt x="0" y="9068"/>
                      <a:pt x="38576" y="-14935"/>
                      <a:pt x="72676" y="1516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2" name="îSľiḍê"/>
              <p:cNvSpPr/>
              <p:nvPr/>
            </p:nvSpPr>
            <p:spPr>
              <a:xfrm>
                <a:off x="3438256" y="3732581"/>
                <a:ext cx="140779" cy="140779"/>
              </a:xfrm>
              <a:custGeom>
                <a:avLst/>
                <a:gdLst>
                  <a:gd name="connsiteX0" fmla="*/ 140780 w 140779"/>
                  <a:gd name="connsiteY0" fmla="*/ 70390 h 140779"/>
                  <a:gd name="connsiteX1" fmla="*/ 70390 w 140779"/>
                  <a:gd name="connsiteY1" fmla="*/ 140780 h 140779"/>
                  <a:gd name="connsiteX2" fmla="*/ 0 w 140779"/>
                  <a:gd name="connsiteY2" fmla="*/ 70390 h 140779"/>
                  <a:gd name="connsiteX3" fmla="*/ 70390 w 140779"/>
                  <a:gd name="connsiteY3" fmla="*/ 0 h 140779"/>
                  <a:gd name="connsiteX4" fmla="*/ 140780 w 140779"/>
                  <a:gd name="connsiteY4" fmla="*/ 70390 h 140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0779" h="140779">
                    <a:moveTo>
                      <a:pt x="140780" y="70390"/>
                    </a:moveTo>
                    <a:cubicBezTo>
                      <a:pt x="140780" y="109265"/>
                      <a:pt x="109265" y="140780"/>
                      <a:pt x="70390" y="140780"/>
                    </a:cubicBezTo>
                    <a:cubicBezTo>
                      <a:pt x="31514" y="140780"/>
                      <a:pt x="0" y="109265"/>
                      <a:pt x="0" y="70390"/>
                    </a:cubicBezTo>
                    <a:cubicBezTo>
                      <a:pt x="0" y="31515"/>
                      <a:pt x="31514" y="0"/>
                      <a:pt x="70390" y="0"/>
                    </a:cubicBezTo>
                    <a:cubicBezTo>
                      <a:pt x="109265" y="0"/>
                      <a:pt x="140780" y="31515"/>
                      <a:pt x="140780" y="70390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3" name="îş1ídè"/>
              <p:cNvSpPr/>
              <p:nvPr/>
            </p:nvSpPr>
            <p:spPr>
              <a:xfrm>
                <a:off x="3130612" y="3705090"/>
                <a:ext cx="118725" cy="140801"/>
              </a:xfrm>
              <a:custGeom>
                <a:avLst/>
                <a:gdLst>
                  <a:gd name="connsiteX0" fmla="*/ 54183 w 118725"/>
                  <a:gd name="connsiteY0" fmla="*/ 249 h 140801"/>
                  <a:gd name="connsiteX1" fmla="*/ 118477 w 118725"/>
                  <a:gd name="connsiteY1" fmla="*/ 76259 h 140801"/>
                  <a:gd name="connsiteX2" fmla="*/ 42467 w 118725"/>
                  <a:gd name="connsiteY2" fmla="*/ 140553 h 140801"/>
                  <a:gd name="connsiteX3" fmla="*/ 6748 w 118725"/>
                  <a:gd name="connsiteY3" fmla="*/ 126932 h 140801"/>
                  <a:gd name="connsiteX4" fmla="*/ 1034 w 118725"/>
                  <a:gd name="connsiteY4" fmla="*/ 18442 h 140801"/>
                  <a:gd name="connsiteX5" fmla="*/ 54183 w 118725"/>
                  <a:gd name="connsiteY5" fmla="*/ 249 h 1408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18725" h="140801">
                    <a:moveTo>
                      <a:pt x="54183" y="249"/>
                    </a:moveTo>
                    <a:cubicBezTo>
                      <a:pt x="92950" y="3488"/>
                      <a:pt x="121715" y="37492"/>
                      <a:pt x="118477" y="76259"/>
                    </a:cubicBezTo>
                    <a:cubicBezTo>
                      <a:pt x="115238" y="115026"/>
                      <a:pt x="81234" y="143791"/>
                      <a:pt x="42467" y="140553"/>
                    </a:cubicBezTo>
                    <a:cubicBezTo>
                      <a:pt x="29037" y="139410"/>
                      <a:pt x="16845" y="134457"/>
                      <a:pt x="6748" y="126932"/>
                    </a:cubicBezTo>
                    <a:cubicBezTo>
                      <a:pt x="557" y="94642"/>
                      <a:pt x="-1443" y="58257"/>
                      <a:pt x="1034" y="18442"/>
                    </a:cubicBezTo>
                    <a:cubicBezTo>
                      <a:pt x="14940" y="5774"/>
                      <a:pt x="33800" y="-1465"/>
                      <a:pt x="54183" y="249"/>
                    </a:cubicBezTo>
                    <a:close/>
                  </a:path>
                </a:pathLst>
              </a:custGeom>
              <a:solidFill>
                <a:srgbClr val="F6AFA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4" name="iṣľîdé"/>
              <p:cNvSpPr/>
              <p:nvPr/>
            </p:nvSpPr>
            <p:spPr>
              <a:xfrm>
                <a:off x="3065733" y="3309937"/>
                <a:ext cx="576151" cy="359302"/>
              </a:xfrm>
              <a:custGeom>
                <a:avLst/>
                <a:gdLst>
                  <a:gd name="connsiteX0" fmla="*/ 0 w 576151"/>
                  <a:gd name="connsiteY0" fmla="*/ 310630 h 359302"/>
                  <a:gd name="connsiteX1" fmla="*/ 480251 w 576151"/>
                  <a:gd name="connsiteY1" fmla="*/ 145752 h 359302"/>
                  <a:gd name="connsiteX2" fmla="*/ 561785 w 576151"/>
                  <a:gd name="connsiteY2" fmla="*/ 359303 h 359302"/>
                  <a:gd name="connsiteX3" fmla="*/ 345662 w 576151"/>
                  <a:gd name="connsiteY3" fmla="*/ 1448 h 359302"/>
                  <a:gd name="connsiteX4" fmla="*/ 0 w 576151"/>
                  <a:gd name="connsiteY4" fmla="*/ 310630 h 3593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151" h="359302">
                    <a:moveTo>
                      <a:pt x="0" y="310630"/>
                    </a:moveTo>
                    <a:cubicBezTo>
                      <a:pt x="0" y="310630"/>
                      <a:pt x="235458" y="352921"/>
                      <a:pt x="480251" y="145752"/>
                    </a:cubicBezTo>
                    <a:cubicBezTo>
                      <a:pt x="469583" y="273959"/>
                      <a:pt x="561785" y="359303"/>
                      <a:pt x="561785" y="359303"/>
                    </a:cubicBezTo>
                    <a:cubicBezTo>
                      <a:pt x="561785" y="359303"/>
                      <a:pt x="659416" y="27547"/>
                      <a:pt x="345662" y="1448"/>
                    </a:cubicBezTo>
                    <a:cubicBezTo>
                      <a:pt x="31909" y="-24650"/>
                      <a:pt x="0" y="310630"/>
                      <a:pt x="0" y="310630"/>
                    </a:cubicBez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5" name="ïṣľíďê"/>
              <p:cNvSpPr/>
              <p:nvPr/>
            </p:nvSpPr>
            <p:spPr>
              <a:xfrm>
                <a:off x="2691972" y="5752071"/>
                <a:ext cx="270891" cy="249459"/>
              </a:xfrm>
              <a:custGeom>
                <a:avLst/>
                <a:gdLst>
                  <a:gd name="connsiteX0" fmla="*/ 0 w 270891"/>
                  <a:gd name="connsiteY0" fmla="*/ 178879 h 249459"/>
                  <a:gd name="connsiteX1" fmla="*/ 211264 w 270891"/>
                  <a:gd name="connsiteY1" fmla="*/ 0 h 249459"/>
                  <a:gd name="connsiteX2" fmla="*/ 270891 w 270891"/>
                  <a:gd name="connsiteY2" fmla="*/ 70390 h 249459"/>
                  <a:gd name="connsiteX3" fmla="*/ 59246 w 270891"/>
                  <a:gd name="connsiteY3" fmla="*/ 249460 h 249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0891" h="249459">
                    <a:moveTo>
                      <a:pt x="0" y="178879"/>
                    </a:moveTo>
                    <a:lnTo>
                      <a:pt x="211264" y="0"/>
                    </a:lnTo>
                    <a:lnTo>
                      <a:pt x="270891" y="70390"/>
                    </a:lnTo>
                    <a:lnTo>
                      <a:pt x="59246" y="24946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6" name="iṩḷíḍè"/>
              <p:cNvSpPr/>
              <p:nvPr/>
            </p:nvSpPr>
            <p:spPr>
              <a:xfrm>
                <a:off x="3427016" y="5801506"/>
                <a:ext cx="249174" cy="271176"/>
              </a:xfrm>
              <a:custGeom>
                <a:avLst/>
                <a:gdLst>
                  <a:gd name="connsiteX0" fmla="*/ 249174 w 249174"/>
                  <a:gd name="connsiteY0" fmla="*/ 211264 h 271176"/>
                  <a:gd name="connsiteX1" fmla="*/ 70390 w 249174"/>
                  <a:gd name="connsiteY1" fmla="*/ 0 h 271176"/>
                  <a:gd name="connsiteX2" fmla="*/ 0 w 249174"/>
                  <a:gd name="connsiteY2" fmla="*/ 59627 h 271176"/>
                  <a:gd name="connsiteX3" fmla="*/ 179070 w 249174"/>
                  <a:gd name="connsiteY3" fmla="*/ 271177 h 27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174" h="271176">
                    <a:moveTo>
                      <a:pt x="249174" y="211264"/>
                    </a:moveTo>
                    <a:lnTo>
                      <a:pt x="70390" y="0"/>
                    </a:lnTo>
                    <a:lnTo>
                      <a:pt x="0" y="59627"/>
                    </a:lnTo>
                    <a:lnTo>
                      <a:pt x="179070" y="271177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7" name="íSḷiḍé"/>
              <p:cNvSpPr/>
              <p:nvPr/>
            </p:nvSpPr>
            <p:spPr>
              <a:xfrm>
                <a:off x="2691972" y="5752071"/>
                <a:ext cx="211264" cy="178879"/>
              </a:xfrm>
              <a:custGeom>
                <a:avLst/>
                <a:gdLst>
                  <a:gd name="connsiteX0" fmla="*/ 0 w 211264"/>
                  <a:gd name="connsiteY0" fmla="*/ 178879 h 178879"/>
                  <a:gd name="connsiteX1" fmla="*/ 211264 w 211264"/>
                  <a:gd name="connsiteY1" fmla="*/ 0 h 178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11264" h="178879">
                    <a:moveTo>
                      <a:pt x="0" y="178879"/>
                    </a:moveTo>
                    <a:lnTo>
                      <a:pt x="211264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8" name="ïşḻîḋé"/>
              <p:cNvSpPr/>
              <p:nvPr/>
            </p:nvSpPr>
            <p:spPr>
              <a:xfrm>
                <a:off x="3497406" y="5801506"/>
                <a:ext cx="178784" cy="211264"/>
              </a:xfrm>
              <a:custGeom>
                <a:avLst/>
                <a:gdLst>
                  <a:gd name="connsiteX0" fmla="*/ 0 w 178784"/>
                  <a:gd name="connsiteY0" fmla="*/ 0 h 211264"/>
                  <a:gd name="connsiteX1" fmla="*/ 178784 w 178784"/>
                  <a:gd name="connsiteY1" fmla="*/ 211264 h 211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8784" h="211264">
                    <a:moveTo>
                      <a:pt x="0" y="0"/>
                    </a:moveTo>
                    <a:lnTo>
                      <a:pt x="178784" y="211264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89" name="îślïḋe"/>
              <p:cNvSpPr/>
              <p:nvPr/>
            </p:nvSpPr>
            <p:spPr>
              <a:xfrm>
                <a:off x="3130312" y="3647715"/>
                <a:ext cx="505204" cy="377267"/>
              </a:xfrm>
              <a:custGeom>
                <a:avLst/>
                <a:gdLst>
                  <a:gd name="connsiteX0" fmla="*/ 473393 w 505204"/>
                  <a:gd name="connsiteY0" fmla="*/ 187736 h 377267"/>
                  <a:gd name="connsiteX1" fmla="*/ 460820 w 505204"/>
                  <a:gd name="connsiteY1" fmla="*/ 223550 h 377267"/>
                  <a:gd name="connsiteX2" fmla="*/ 422053 w 505204"/>
                  <a:gd name="connsiteY2" fmla="*/ 122966 h 377267"/>
                  <a:gd name="connsiteX3" fmla="*/ 504349 w 505204"/>
                  <a:gd name="connsiteY3" fmla="*/ 7523 h 377267"/>
                  <a:gd name="connsiteX4" fmla="*/ 503111 w 505204"/>
                  <a:gd name="connsiteY4" fmla="*/ 856 h 377267"/>
                  <a:gd name="connsiteX5" fmla="*/ 496253 w 505204"/>
                  <a:gd name="connsiteY5" fmla="*/ 2094 h 377267"/>
                  <a:gd name="connsiteX6" fmla="*/ 414528 w 505204"/>
                  <a:gd name="connsiteY6" fmla="*/ 116584 h 377267"/>
                  <a:gd name="connsiteX7" fmla="*/ 243269 w 505204"/>
                  <a:gd name="connsiteY7" fmla="*/ 102297 h 377267"/>
                  <a:gd name="connsiteX8" fmla="*/ 0 w 505204"/>
                  <a:gd name="connsiteY8" fmla="*/ 87533 h 377267"/>
                  <a:gd name="connsiteX9" fmla="*/ 5429 w 505204"/>
                  <a:gd name="connsiteY9" fmla="*/ 203262 h 377267"/>
                  <a:gd name="connsiteX10" fmla="*/ 214217 w 505204"/>
                  <a:gd name="connsiteY10" fmla="*/ 376427 h 377267"/>
                  <a:gd name="connsiteX11" fmla="*/ 463010 w 505204"/>
                  <a:gd name="connsiteY11" fmla="*/ 240600 h 377267"/>
                  <a:gd name="connsiteX12" fmla="*/ 463391 w 505204"/>
                  <a:gd name="connsiteY12" fmla="*/ 240790 h 377267"/>
                  <a:gd name="connsiteX13" fmla="*/ 483394 w 505204"/>
                  <a:gd name="connsiteY13" fmla="*/ 189070 h 377267"/>
                  <a:gd name="connsiteX14" fmla="*/ 473393 w 505204"/>
                  <a:gd name="connsiteY14" fmla="*/ 187736 h 377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505204" h="377267">
                    <a:moveTo>
                      <a:pt x="473393" y="187736"/>
                    </a:moveTo>
                    <a:cubicBezTo>
                      <a:pt x="473393" y="187736"/>
                      <a:pt x="464248" y="215644"/>
                      <a:pt x="460820" y="223550"/>
                    </a:cubicBezTo>
                    <a:cubicBezTo>
                      <a:pt x="435673" y="180402"/>
                      <a:pt x="425196" y="138111"/>
                      <a:pt x="422053" y="122966"/>
                    </a:cubicBezTo>
                    <a:lnTo>
                      <a:pt x="504349" y="7523"/>
                    </a:lnTo>
                    <a:cubicBezTo>
                      <a:pt x="505873" y="5332"/>
                      <a:pt x="505301" y="2380"/>
                      <a:pt x="503111" y="856"/>
                    </a:cubicBezTo>
                    <a:cubicBezTo>
                      <a:pt x="500825" y="-668"/>
                      <a:pt x="497777" y="-97"/>
                      <a:pt x="496253" y="2094"/>
                    </a:cubicBezTo>
                    <a:lnTo>
                      <a:pt x="414528" y="116584"/>
                    </a:lnTo>
                    <a:lnTo>
                      <a:pt x="243269" y="102297"/>
                    </a:lnTo>
                    <a:lnTo>
                      <a:pt x="0" y="87533"/>
                    </a:lnTo>
                    <a:cubicBezTo>
                      <a:pt x="0" y="87533"/>
                      <a:pt x="571" y="174877"/>
                      <a:pt x="5429" y="203262"/>
                    </a:cubicBezTo>
                    <a:cubicBezTo>
                      <a:pt x="21622" y="297655"/>
                      <a:pt x="109919" y="367759"/>
                      <a:pt x="214217" y="376427"/>
                    </a:cubicBezTo>
                    <a:cubicBezTo>
                      <a:pt x="318516" y="385094"/>
                      <a:pt x="419386" y="325849"/>
                      <a:pt x="463010" y="240600"/>
                    </a:cubicBezTo>
                    <a:lnTo>
                      <a:pt x="463391" y="240790"/>
                    </a:lnTo>
                    <a:cubicBezTo>
                      <a:pt x="463868" y="239933"/>
                      <a:pt x="483394" y="189070"/>
                      <a:pt x="483394" y="189070"/>
                    </a:cubicBezTo>
                    <a:lnTo>
                      <a:pt x="473393" y="187736"/>
                    </a:ln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90" name="图形 278"/>
              <p:cNvGrpSpPr/>
              <p:nvPr/>
            </p:nvGrpSpPr>
            <p:grpSpPr>
              <a:xfrm>
                <a:off x="3092308" y="3140768"/>
                <a:ext cx="642175" cy="354830"/>
                <a:chOff x="3092308" y="3140768"/>
                <a:chExt cx="642175" cy="354830"/>
              </a:xfrm>
              <a:solidFill>
                <a:schemeClr val="accent1"/>
              </a:solidFill>
            </p:grpSpPr>
            <p:sp>
              <p:nvSpPr>
                <p:cNvPr id="191" name="ïṡḻïḑé"/>
                <p:cNvSpPr/>
                <p:nvPr/>
              </p:nvSpPr>
              <p:spPr>
                <a:xfrm>
                  <a:off x="3092308" y="3140768"/>
                  <a:ext cx="642175" cy="354830"/>
                </a:xfrm>
                <a:custGeom>
                  <a:avLst/>
                  <a:gdLst>
                    <a:gd name="connsiteX0" fmla="*/ 517017 w 642175"/>
                    <a:gd name="connsiteY0" fmla="*/ 354831 h 354830"/>
                    <a:gd name="connsiteX1" fmla="*/ 78200 w 642175"/>
                    <a:gd name="connsiteY1" fmla="*/ 318350 h 354830"/>
                    <a:gd name="connsiteX2" fmla="*/ 0 w 642175"/>
                    <a:gd name="connsiteY2" fmla="*/ 27742 h 354830"/>
                    <a:gd name="connsiteX3" fmla="*/ 642175 w 642175"/>
                    <a:gd name="connsiteY3" fmla="*/ 81177 h 354830"/>
                    <a:gd name="connsiteX4" fmla="*/ 517017 w 642175"/>
                    <a:gd name="connsiteY4" fmla="*/ 354831 h 3548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2175" h="354830">
                      <a:moveTo>
                        <a:pt x="517017" y="354831"/>
                      </a:moveTo>
                      <a:cubicBezTo>
                        <a:pt x="377857" y="298538"/>
                        <a:pt x="224790" y="285774"/>
                        <a:pt x="78200" y="318350"/>
                      </a:cubicBezTo>
                      <a:cubicBezTo>
                        <a:pt x="53340" y="221195"/>
                        <a:pt x="27337" y="124326"/>
                        <a:pt x="0" y="27742"/>
                      </a:cubicBezTo>
                      <a:cubicBezTo>
                        <a:pt x="214313" y="-22740"/>
                        <a:pt x="439103" y="-3976"/>
                        <a:pt x="642175" y="81177"/>
                      </a:cubicBezTo>
                      <a:cubicBezTo>
                        <a:pt x="599313" y="171855"/>
                        <a:pt x="557594" y="263010"/>
                        <a:pt x="517017" y="354831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92" name="î$1íḓe"/>
                <p:cNvSpPr/>
                <p:nvPr/>
              </p:nvSpPr>
              <p:spPr>
                <a:xfrm>
                  <a:off x="3309287" y="3201943"/>
                  <a:ext cx="191261" cy="191262"/>
                </a:xfrm>
                <a:custGeom>
                  <a:avLst/>
                  <a:gdLst>
                    <a:gd name="connsiteX0" fmla="*/ 191262 w 191261"/>
                    <a:gd name="connsiteY0" fmla="*/ 67723 h 191262"/>
                    <a:gd name="connsiteX1" fmla="*/ 134207 w 191261"/>
                    <a:gd name="connsiteY1" fmla="*/ 62960 h 191262"/>
                    <a:gd name="connsiteX2" fmla="*/ 138970 w 191261"/>
                    <a:gd name="connsiteY2" fmla="*/ 6001 h 191262"/>
                    <a:gd name="connsiteX3" fmla="*/ 67723 w 191261"/>
                    <a:gd name="connsiteY3" fmla="*/ 0 h 191262"/>
                    <a:gd name="connsiteX4" fmla="*/ 62960 w 191261"/>
                    <a:gd name="connsiteY4" fmla="*/ 57055 h 191262"/>
                    <a:gd name="connsiteX5" fmla="*/ 6001 w 191261"/>
                    <a:gd name="connsiteY5" fmla="*/ 52292 h 191262"/>
                    <a:gd name="connsiteX6" fmla="*/ 0 w 191261"/>
                    <a:gd name="connsiteY6" fmla="*/ 123539 h 191262"/>
                    <a:gd name="connsiteX7" fmla="*/ 57055 w 191261"/>
                    <a:gd name="connsiteY7" fmla="*/ 128302 h 191262"/>
                    <a:gd name="connsiteX8" fmla="*/ 52292 w 191261"/>
                    <a:gd name="connsiteY8" fmla="*/ 185261 h 191262"/>
                    <a:gd name="connsiteX9" fmla="*/ 123539 w 191261"/>
                    <a:gd name="connsiteY9" fmla="*/ 191262 h 191262"/>
                    <a:gd name="connsiteX10" fmla="*/ 128302 w 191261"/>
                    <a:gd name="connsiteY10" fmla="*/ 134207 h 191262"/>
                    <a:gd name="connsiteX11" fmla="*/ 185261 w 191261"/>
                    <a:gd name="connsiteY11" fmla="*/ 138970 h 1912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91261" h="191262">
                      <a:moveTo>
                        <a:pt x="191262" y="67723"/>
                      </a:moveTo>
                      <a:lnTo>
                        <a:pt x="134207" y="62960"/>
                      </a:lnTo>
                      <a:lnTo>
                        <a:pt x="138970" y="6001"/>
                      </a:lnTo>
                      <a:lnTo>
                        <a:pt x="67723" y="0"/>
                      </a:lnTo>
                      <a:lnTo>
                        <a:pt x="62960" y="57055"/>
                      </a:lnTo>
                      <a:lnTo>
                        <a:pt x="6001" y="52292"/>
                      </a:lnTo>
                      <a:lnTo>
                        <a:pt x="0" y="123539"/>
                      </a:lnTo>
                      <a:lnTo>
                        <a:pt x="57055" y="128302"/>
                      </a:lnTo>
                      <a:lnTo>
                        <a:pt x="52292" y="185261"/>
                      </a:lnTo>
                      <a:lnTo>
                        <a:pt x="123539" y="191262"/>
                      </a:lnTo>
                      <a:lnTo>
                        <a:pt x="128302" y="134207"/>
                      </a:lnTo>
                      <a:lnTo>
                        <a:pt x="185261" y="138970"/>
                      </a:lnTo>
                      <a:close/>
                    </a:path>
                  </a:pathLst>
                </a:custGeom>
                <a:solidFill>
                  <a:srgbClr val="4870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9" name="图形 278"/>
            <p:cNvGrpSpPr/>
            <p:nvPr userDrawn="1"/>
          </p:nvGrpSpPr>
          <p:grpSpPr>
            <a:xfrm rot="539182">
              <a:off x="9059197" y="948303"/>
              <a:ext cx="2927566" cy="4262031"/>
              <a:chOff x="7189961" y="3152438"/>
              <a:chExt cx="2291439" cy="3335940"/>
            </a:xfrm>
            <a:solidFill>
              <a:schemeClr val="accent1"/>
            </a:solidFill>
          </p:grpSpPr>
          <p:grpSp>
            <p:nvGrpSpPr>
              <p:cNvPr id="111" name="图形 278"/>
              <p:cNvGrpSpPr/>
              <p:nvPr/>
            </p:nvGrpSpPr>
            <p:grpSpPr>
              <a:xfrm>
                <a:off x="7189961" y="3391297"/>
                <a:ext cx="2291439" cy="3097081"/>
                <a:chOff x="7189961" y="3391297"/>
                <a:chExt cx="2291439" cy="3097081"/>
              </a:xfrm>
              <a:solidFill>
                <a:schemeClr val="accent1"/>
              </a:solidFill>
            </p:grpSpPr>
            <p:sp>
              <p:nvSpPr>
                <p:cNvPr id="119" name="ïsļîḋê"/>
                <p:cNvSpPr/>
                <p:nvPr/>
              </p:nvSpPr>
              <p:spPr>
                <a:xfrm>
                  <a:off x="7386845" y="4138917"/>
                  <a:ext cx="941288" cy="1213008"/>
                </a:xfrm>
                <a:custGeom>
                  <a:avLst/>
                  <a:gdLst>
                    <a:gd name="connsiteX0" fmla="*/ 825342 w 941288"/>
                    <a:gd name="connsiteY0" fmla="*/ 0 h 1213008"/>
                    <a:gd name="connsiteX1" fmla="*/ 898970 w 941288"/>
                    <a:gd name="connsiteY1" fmla="*/ 566166 h 1213008"/>
                    <a:gd name="connsiteX2" fmla="*/ 672751 w 941288"/>
                    <a:gd name="connsiteY2" fmla="*/ 1171289 h 1213008"/>
                    <a:gd name="connsiteX3" fmla="*/ 21241 w 941288"/>
                    <a:gd name="connsiteY3" fmla="*/ 1213009 h 1213008"/>
                    <a:gd name="connsiteX4" fmla="*/ 0 w 941288"/>
                    <a:gd name="connsiteY4" fmla="*/ 1050036 h 1213008"/>
                    <a:gd name="connsiteX5" fmla="*/ 512159 w 941288"/>
                    <a:gd name="connsiteY5" fmla="*/ 928211 h 1213008"/>
                    <a:gd name="connsiteX6" fmla="*/ 825342 w 941288"/>
                    <a:gd name="connsiteY6" fmla="*/ 0 h 12130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41288" h="1213008">
                      <a:moveTo>
                        <a:pt x="825342" y="0"/>
                      </a:moveTo>
                      <a:cubicBezTo>
                        <a:pt x="825342" y="0"/>
                        <a:pt x="868680" y="444055"/>
                        <a:pt x="898970" y="566166"/>
                      </a:cubicBezTo>
                      <a:cubicBezTo>
                        <a:pt x="1028033" y="1085945"/>
                        <a:pt x="835723" y="1150144"/>
                        <a:pt x="672751" y="1171289"/>
                      </a:cubicBezTo>
                      <a:cubicBezTo>
                        <a:pt x="509778" y="1192530"/>
                        <a:pt x="21241" y="1213009"/>
                        <a:pt x="21241" y="1213009"/>
                      </a:cubicBezTo>
                      <a:lnTo>
                        <a:pt x="0" y="1050036"/>
                      </a:lnTo>
                      <a:lnTo>
                        <a:pt x="512159" y="928211"/>
                      </a:lnTo>
                      <a:cubicBezTo>
                        <a:pt x="512255" y="928211"/>
                        <a:pt x="400336" y="201930"/>
                        <a:pt x="825342" y="0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0" name="îṧlïďe"/>
                <p:cNvSpPr/>
                <p:nvPr/>
              </p:nvSpPr>
              <p:spPr>
                <a:xfrm>
                  <a:off x="8133795" y="6110783"/>
                  <a:ext cx="1049274" cy="210502"/>
                </a:xfrm>
                <a:custGeom>
                  <a:avLst/>
                  <a:gdLst>
                    <a:gd name="connsiteX0" fmla="*/ 0 w 1049274"/>
                    <a:gd name="connsiteY0" fmla="*/ 135064 h 210502"/>
                    <a:gd name="connsiteX1" fmla="*/ 9811 w 1049274"/>
                    <a:gd name="connsiteY1" fmla="*/ 210503 h 210502"/>
                    <a:gd name="connsiteX2" fmla="*/ 1049274 w 1049274"/>
                    <a:gd name="connsiteY2" fmla="*/ 75343 h 210502"/>
                    <a:gd name="connsiteX3" fmla="*/ 1038606 w 1049274"/>
                    <a:gd name="connsiteY3" fmla="*/ 0 h 2105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49274" h="210502">
                      <a:moveTo>
                        <a:pt x="0" y="135064"/>
                      </a:moveTo>
                      <a:lnTo>
                        <a:pt x="9811" y="210503"/>
                      </a:lnTo>
                      <a:lnTo>
                        <a:pt x="1049274" y="75343"/>
                      </a:lnTo>
                      <a:lnTo>
                        <a:pt x="1038606" y="0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1" name="î$ľïďé"/>
                <p:cNvSpPr/>
                <p:nvPr/>
              </p:nvSpPr>
              <p:spPr>
                <a:xfrm>
                  <a:off x="7975366" y="4082051"/>
                  <a:ext cx="1224752" cy="2199705"/>
                </a:xfrm>
                <a:custGeom>
                  <a:avLst/>
                  <a:gdLst>
                    <a:gd name="connsiteX0" fmla="*/ 1224753 w 1224752"/>
                    <a:gd name="connsiteY0" fmla="*/ 2063498 h 2199705"/>
                    <a:gd name="connsiteX1" fmla="*/ 948147 w 1224752"/>
                    <a:gd name="connsiteY1" fmla="*/ 425769 h 2199705"/>
                    <a:gd name="connsiteX2" fmla="*/ 407889 w 1224752"/>
                    <a:gd name="connsiteY2" fmla="*/ 3526 h 2199705"/>
                    <a:gd name="connsiteX3" fmla="*/ 397602 w 1224752"/>
                    <a:gd name="connsiteY3" fmla="*/ 4860 h 2199705"/>
                    <a:gd name="connsiteX4" fmla="*/ 8410 w 1224752"/>
                    <a:gd name="connsiteY4" fmla="*/ 623889 h 2199705"/>
                    <a:gd name="connsiteX5" fmla="*/ 144713 w 1224752"/>
                    <a:gd name="connsiteY5" fmla="*/ 2199706 h 2199705"/>
                    <a:gd name="connsiteX6" fmla="*/ 1224753 w 1224752"/>
                    <a:gd name="connsiteY6" fmla="*/ 2063498 h 2199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24752" h="2199705">
                      <a:moveTo>
                        <a:pt x="1224753" y="2063498"/>
                      </a:moveTo>
                      <a:lnTo>
                        <a:pt x="948147" y="425769"/>
                      </a:lnTo>
                      <a:cubicBezTo>
                        <a:pt x="913667" y="160974"/>
                        <a:pt x="672970" y="-28478"/>
                        <a:pt x="407889" y="3526"/>
                      </a:cubicBezTo>
                      <a:cubicBezTo>
                        <a:pt x="404460" y="3907"/>
                        <a:pt x="401031" y="4383"/>
                        <a:pt x="397602" y="4860"/>
                      </a:cubicBezTo>
                      <a:cubicBezTo>
                        <a:pt x="51749" y="49818"/>
                        <a:pt x="-29118" y="335377"/>
                        <a:pt x="8410" y="623889"/>
                      </a:cubicBezTo>
                      <a:cubicBezTo>
                        <a:pt x="45939" y="912402"/>
                        <a:pt x="144713" y="2199706"/>
                        <a:pt x="144713" y="2199706"/>
                      </a:cubicBezTo>
                      <a:lnTo>
                        <a:pt x="1224753" y="2063498"/>
                      </a:ln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2" name="îṡlîḑe"/>
                <p:cNvSpPr/>
                <p:nvPr/>
              </p:nvSpPr>
              <p:spPr>
                <a:xfrm>
                  <a:off x="8494602" y="4076106"/>
                  <a:ext cx="940498" cy="2062109"/>
                </a:xfrm>
                <a:custGeom>
                  <a:avLst/>
                  <a:gdLst>
                    <a:gd name="connsiteX0" fmla="*/ 0 w 940498"/>
                    <a:gd name="connsiteY0" fmla="*/ 899 h 2062109"/>
                    <a:gd name="connsiteX1" fmla="*/ 48387 w 940498"/>
                    <a:gd name="connsiteY1" fmla="*/ 159586 h 2062109"/>
                    <a:gd name="connsiteX2" fmla="*/ 420624 w 940498"/>
                    <a:gd name="connsiteY2" fmla="*/ 1014550 h 2062109"/>
                    <a:gd name="connsiteX3" fmla="*/ 762476 w 940498"/>
                    <a:gd name="connsiteY3" fmla="*/ 2062109 h 2062109"/>
                    <a:gd name="connsiteX4" fmla="*/ 940498 w 940498"/>
                    <a:gd name="connsiteY4" fmla="*/ 2038964 h 2062109"/>
                    <a:gd name="connsiteX5" fmla="*/ 0 w 940498"/>
                    <a:gd name="connsiteY5" fmla="*/ 899 h 20621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40498" h="2062109">
                      <a:moveTo>
                        <a:pt x="0" y="899"/>
                      </a:moveTo>
                      <a:lnTo>
                        <a:pt x="48387" y="159586"/>
                      </a:lnTo>
                      <a:cubicBezTo>
                        <a:pt x="139351" y="457909"/>
                        <a:pt x="267176" y="743087"/>
                        <a:pt x="420624" y="1014550"/>
                      </a:cubicBezTo>
                      <a:cubicBezTo>
                        <a:pt x="696563" y="1502420"/>
                        <a:pt x="762476" y="2062109"/>
                        <a:pt x="762476" y="2062109"/>
                      </a:cubicBezTo>
                      <a:lnTo>
                        <a:pt x="940498" y="2038964"/>
                      </a:lnTo>
                      <a:cubicBezTo>
                        <a:pt x="661416" y="-106924"/>
                        <a:pt x="0" y="899"/>
                        <a:pt x="0" y="899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3" name="îśļíḑè"/>
                <p:cNvSpPr/>
                <p:nvPr/>
              </p:nvSpPr>
              <p:spPr>
                <a:xfrm>
                  <a:off x="7806156" y="4086530"/>
                  <a:ext cx="602911" cy="880776"/>
                </a:xfrm>
                <a:custGeom>
                  <a:avLst/>
                  <a:gdLst>
                    <a:gd name="connsiteX0" fmla="*/ 3027 w 602911"/>
                    <a:gd name="connsiteY0" fmla="*/ 843725 h 880776"/>
                    <a:gd name="connsiteX1" fmla="*/ 602912 w 602911"/>
                    <a:gd name="connsiteY1" fmla="*/ 880777 h 880776"/>
                    <a:gd name="connsiteX2" fmla="*/ 577194 w 602911"/>
                    <a:gd name="connsiteY2" fmla="*/ 0 h 880776"/>
                    <a:gd name="connsiteX3" fmla="*/ 3027 w 602911"/>
                    <a:gd name="connsiteY3" fmla="*/ 843725 h 8807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02911" h="880776">
                      <a:moveTo>
                        <a:pt x="3027" y="843725"/>
                      </a:moveTo>
                      <a:lnTo>
                        <a:pt x="602912" y="880777"/>
                      </a:lnTo>
                      <a:lnTo>
                        <a:pt x="577194" y="0"/>
                      </a:lnTo>
                      <a:cubicBezTo>
                        <a:pt x="577194" y="0"/>
                        <a:pt x="-48599" y="20479"/>
                        <a:pt x="3027" y="843725"/>
                      </a:cubicBez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4" name="íś1ïḓe"/>
                <p:cNvSpPr/>
                <p:nvPr/>
              </p:nvSpPr>
              <p:spPr>
                <a:xfrm>
                  <a:off x="8383445" y="4077225"/>
                  <a:ext cx="770858" cy="867316"/>
                </a:xfrm>
                <a:custGeom>
                  <a:avLst/>
                  <a:gdLst>
                    <a:gd name="connsiteX0" fmla="*/ 770858 w 770858"/>
                    <a:gd name="connsiteY0" fmla="*/ 678055 h 867316"/>
                    <a:gd name="connsiteX1" fmla="*/ 200406 w 770858"/>
                    <a:gd name="connsiteY1" fmla="*/ 867316 h 867316"/>
                    <a:gd name="connsiteX2" fmla="*/ 0 w 770858"/>
                    <a:gd name="connsiteY2" fmla="*/ 9304 h 867316"/>
                    <a:gd name="connsiteX3" fmla="*/ 770858 w 770858"/>
                    <a:gd name="connsiteY3" fmla="*/ 678055 h 8673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70858" h="867316">
                      <a:moveTo>
                        <a:pt x="770858" y="678055"/>
                      </a:moveTo>
                      <a:lnTo>
                        <a:pt x="200406" y="867316"/>
                      </a:lnTo>
                      <a:lnTo>
                        <a:pt x="0" y="9304"/>
                      </a:lnTo>
                      <a:cubicBezTo>
                        <a:pt x="-95" y="9304"/>
                        <a:pt x="610172" y="-130999"/>
                        <a:pt x="770858" y="678055"/>
                      </a:cubicBezTo>
                      <a:close/>
                    </a:path>
                  </a:pathLst>
                </a:custGeom>
                <a:solidFill>
                  <a:srgbClr val="EAA9C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25" name="iş1íḋè"/>
                <p:cNvSpPr/>
                <p:nvPr/>
              </p:nvSpPr>
              <p:spPr>
                <a:xfrm>
                  <a:off x="8424307" y="4805667"/>
                  <a:ext cx="273610" cy="263594"/>
                </a:xfrm>
                <a:custGeom>
                  <a:avLst/>
                  <a:gdLst>
                    <a:gd name="connsiteX0" fmla="*/ 0 w 273610"/>
                    <a:gd name="connsiteY0" fmla="*/ 34766 h 263594"/>
                    <a:gd name="connsiteX1" fmla="*/ 267558 w 273610"/>
                    <a:gd name="connsiteY1" fmla="*/ 0 h 263594"/>
                    <a:gd name="connsiteX2" fmla="*/ 168497 w 273610"/>
                    <a:gd name="connsiteY2" fmla="*/ 262604 h 263594"/>
                    <a:gd name="connsiteX3" fmla="*/ 0 w 273610"/>
                    <a:gd name="connsiteY3" fmla="*/ 34766 h 2635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73610" h="263594">
                      <a:moveTo>
                        <a:pt x="0" y="34766"/>
                      </a:moveTo>
                      <a:lnTo>
                        <a:pt x="267558" y="0"/>
                      </a:lnTo>
                      <a:cubicBezTo>
                        <a:pt x="267558" y="0"/>
                        <a:pt x="310325" y="244126"/>
                        <a:pt x="168497" y="262604"/>
                      </a:cubicBezTo>
                      <a:cubicBezTo>
                        <a:pt x="26670" y="281083"/>
                        <a:pt x="0" y="34766"/>
                        <a:pt x="0" y="34766"/>
                      </a:cubicBez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26" name="图形 278"/>
                <p:cNvGrpSpPr/>
                <p:nvPr/>
              </p:nvGrpSpPr>
              <p:grpSpPr>
                <a:xfrm>
                  <a:off x="8112380" y="4064149"/>
                  <a:ext cx="445184" cy="876665"/>
                  <a:chOff x="8112380" y="4064149"/>
                  <a:chExt cx="445184" cy="876665"/>
                </a:xfrm>
                <a:solidFill>
                  <a:schemeClr val="accent1"/>
                </a:solidFill>
              </p:grpSpPr>
              <p:sp>
                <p:nvSpPr>
                  <p:cNvPr id="150" name="ïSľïḋè"/>
                  <p:cNvSpPr/>
                  <p:nvPr/>
                </p:nvSpPr>
                <p:spPr>
                  <a:xfrm>
                    <a:off x="8112380" y="4064149"/>
                    <a:ext cx="445184" cy="693893"/>
                  </a:xfrm>
                  <a:custGeom>
                    <a:avLst/>
                    <a:gdLst>
                      <a:gd name="connsiteX0" fmla="*/ 195247 w 445184"/>
                      <a:gd name="connsiteY0" fmla="*/ 950 h 693893"/>
                      <a:gd name="connsiteX1" fmla="*/ 195247 w 445184"/>
                      <a:gd name="connsiteY1" fmla="*/ 950 h 693893"/>
                      <a:gd name="connsiteX2" fmla="*/ 2080 w 445184"/>
                      <a:gd name="connsiteY2" fmla="*/ 229264 h 693893"/>
                      <a:gd name="connsiteX3" fmla="*/ 287734 w 445184"/>
                      <a:gd name="connsiteY3" fmla="*/ 693894 h 693893"/>
                      <a:gd name="connsiteX4" fmla="*/ 442706 w 445184"/>
                      <a:gd name="connsiteY4" fmla="*/ 171924 h 693893"/>
                      <a:gd name="connsiteX5" fmla="*/ 195247 w 445184"/>
                      <a:gd name="connsiteY5" fmla="*/ 950 h 69389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445184" h="693893">
                        <a:moveTo>
                          <a:pt x="195247" y="950"/>
                        </a:moveTo>
                        <a:lnTo>
                          <a:pt x="195247" y="950"/>
                        </a:lnTo>
                        <a:cubicBezTo>
                          <a:pt x="172292" y="4950"/>
                          <a:pt x="-22114" y="43717"/>
                          <a:pt x="2080" y="229264"/>
                        </a:cubicBezTo>
                        <a:cubicBezTo>
                          <a:pt x="26178" y="414621"/>
                          <a:pt x="260779" y="669891"/>
                          <a:pt x="287734" y="693894"/>
                        </a:cubicBezTo>
                        <a:cubicBezTo>
                          <a:pt x="307737" y="663795"/>
                          <a:pt x="466804" y="357375"/>
                          <a:pt x="442706" y="171924"/>
                        </a:cubicBezTo>
                        <a:cubicBezTo>
                          <a:pt x="418608" y="-13623"/>
                          <a:pt x="218392" y="-1146"/>
                          <a:pt x="195247" y="950"/>
                        </a:cubicBezTo>
                        <a:close/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1" name="iŝlíďè"/>
                  <p:cNvSpPr/>
                  <p:nvPr/>
                </p:nvSpPr>
                <p:spPr>
                  <a:xfrm rot="-444728">
                    <a:off x="8287102" y="4777466"/>
                    <a:ext cx="247353" cy="148011"/>
                  </a:xfrm>
                  <a:custGeom>
                    <a:avLst/>
                    <a:gdLst>
                      <a:gd name="connsiteX0" fmla="*/ 0 w 247353"/>
                      <a:gd name="connsiteY0" fmla="*/ 0 h 148011"/>
                      <a:gd name="connsiteX1" fmla="*/ 247353 w 247353"/>
                      <a:gd name="connsiteY1" fmla="*/ 0 h 148011"/>
                      <a:gd name="connsiteX2" fmla="*/ 247353 w 247353"/>
                      <a:gd name="connsiteY2" fmla="*/ 148012 h 148011"/>
                      <a:gd name="connsiteX3" fmla="*/ 0 w 247353"/>
                      <a:gd name="connsiteY3" fmla="*/ 148012 h 14801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247353" h="148011">
                        <a:moveTo>
                          <a:pt x="0" y="0"/>
                        </a:moveTo>
                        <a:lnTo>
                          <a:pt x="247353" y="0"/>
                        </a:lnTo>
                        <a:lnTo>
                          <a:pt x="247353" y="148012"/>
                        </a:lnTo>
                        <a:lnTo>
                          <a:pt x="0" y="148012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2" name="ïṡļídê"/>
                  <p:cNvSpPr/>
                  <p:nvPr/>
                </p:nvSpPr>
                <p:spPr>
                  <a:xfrm>
                    <a:off x="8400114" y="4758042"/>
                    <a:ext cx="5238" cy="40195"/>
                  </a:xfrm>
                  <a:custGeom>
                    <a:avLst/>
                    <a:gdLst>
                      <a:gd name="connsiteX0" fmla="*/ 0 w 5238"/>
                      <a:gd name="connsiteY0" fmla="*/ 0 h 40195"/>
                      <a:gd name="connsiteX1" fmla="*/ 5239 w 5238"/>
                      <a:gd name="connsiteY1" fmla="*/ 40195 h 40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5238" h="40195">
                        <a:moveTo>
                          <a:pt x="0" y="0"/>
                        </a:moveTo>
                        <a:lnTo>
                          <a:pt x="5239" y="40195"/>
                        </a:lnTo>
                      </a:path>
                    </a:pathLst>
                  </a:custGeom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3" name="íṡlïḍé"/>
                  <p:cNvSpPr/>
                  <p:nvPr/>
                </p:nvSpPr>
                <p:spPr>
                  <a:xfrm rot="-444728">
                    <a:off x="8314246" y="4825469"/>
                    <a:ext cx="56195" cy="56195"/>
                  </a:xfrm>
                  <a:custGeom>
                    <a:avLst/>
                    <a:gdLst>
                      <a:gd name="connsiteX0" fmla="*/ 0 w 56195"/>
                      <a:gd name="connsiteY0" fmla="*/ 0 h 56195"/>
                      <a:gd name="connsiteX1" fmla="*/ 56195 w 56195"/>
                      <a:gd name="connsiteY1" fmla="*/ 0 h 56195"/>
                      <a:gd name="connsiteX2" fmla="*/ 56195 w 56195"/>
                      <a:gd name="connsiteY2" fmla="*/ 56195 h 56195"/>
                      <a:gd name="connsiteX3" fmla="*/ 0 w 56195"/>
                      <a:gd name="connsiteY3" fmla="*/ 56195 h 56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6195" h="56195">
                        <a:moveTo>
                          <a:pt x="0" y="0"/>
                        </a:moveTo>
                        <a:lnTo>
                          <a:pt x="56195" y="0"/>
                        </a:lnTo>
                        <a:lnTo>
                          <a:pt x="56195" y="56195"/>
                        </a:lnTo>
                        <a:lnTo>
                          <a:pt x="0" y="56195"/>
                        </a:lnTo>
                        <a:close/>
                      </a:path>
                    </a:pathLst>
                  </a:custGeom>
                  <a:solidFill>
                    <a:srgbClr val="FCDFD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4" name="ïṧļiďê"/>
                  <p:cNvSpPr/>
                  <p:nvPr/>
                </p:nvSpPr>
                <p:spPr>
                  <a:xfrm rot="-444728">
                    <a:off x="8395003" y="4810799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5" name="îślïḓé"/>
                  <p:cNvSpPr/>
                  <p:nvPr/>
                </p:nvSpPr>
                <p:spPr>
                  <a:xfrm rot="-444728">
                    <a:off x="8397961" y="4834144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6" name="îŝ1idê"/>
                  <p:cNvSpPr/>
                  <p:nvPr/>
                </p:nvSpPr>
                <p:spPr>
                  <a:xfrm rot="-444728">
                    <a:off x="8401014" y="4857477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7" name="ïSľîdè"/>
                  <p:cNvSpPr/>
                  <p:nvPr/>
                </p:nvSpPr>
                <p:spPr>
                  <a:xfrm rot="-444728">
                    <a:off x="8404054" y="4880714"/>
                    <a:ext cx="116390" cy="9143"/>
                  </a:xfrm>
                  <a:custGeom>
                    <a:avLst/>
                    <a:gdLst>
                      <a:gd name="connsiteX0" fmla="*/ 0 w 116390"/>
                      <a:gd name="connsiteY0" fmla="*/ 0 h 9143"/>
                      <a:gd name="connsiteX1" fmla="*/ 116390 w 116390"/>
                      <a:gd name="connsiteY1" fmla="*/ 0 h 9143"/>
                      <a:gd name="connsiteX2" fmla="*/ 116390 w 116390"/>
                      <a:gd name="connsiteY2" fmla="*/ 9144 h 9143"/>
                      <a:gd name="connsiteX3" fmla="*/ 0 w 116390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16390" h="9143">
                        <a:moveTo>
                          <a:pt x="0" y="0"/>
                        </a:moveTo>
                        <a:lnTo>
                          <a:pt x="116390" y="0"/>
                        </a:lnTo>
                        <a:lnTo>
                          <a:pt x="116390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EF4F2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58" name="îṥḷiďê"/>
                  <p:cNvSpPr/>
                  <p:nvPr/>
                </p:nvSpPr>
                <p:spPr>
                  <a:xfrm rot="-444728">
                    <a:off x="8320244" y="4895577"/>
                    <a:ext cx="56195" cy="9143"/>
                  </a:xfrm>
                  <a:custGeom>
                    <a:avLst/>
                    <a:gdLst>
                      <a:gd name="connsiteX0" fmla="*/ 0 w 56195"/>
                      <a:gd name="connsiteY0" fmla="*/ 0 h 9143"/>
                      <a:gd name="connsiteX1" fmla="*/ 56195 w 56195"/>
                      <a:gd name="connsiteY1" fmla="*/ 0 h 9143"/>
                      <a:gd name="connsiteX2" fmla="*/ 56195 w 56195"/>
                      <a:gd name="connsiteY2" fmla="*/ 9144 h 9143"/>
                      <a:gd name="connsiteX3" fmla="*/ 0 w 56195"/>
                      <a:gd name="connsiteY3" fmla="*/ 9144 h 91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6195" h="9143">
                        <a:moveTo>
                          <a:pt x="0" y="0"/>
                        </a:moveTo>
                        <a:lnTo>
                          <a:pt x="56195" y="0"/>
                        </a:lnTo>
                        <a:lnTo>
                          <a:pt x="56195" y="9144"/>
                        </a:lnTo>
                        <a:lnTo>
                          <a:pt x="0" y="9144"/>
                        </a:lnTo>
                        <a:close/>
                      </a:path>
                    </a:pathLst>
                  </a:custGeom>
                  <a:solidFill>
                    <a:srgbClr val="FCDFD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27" name="iSḷïďè"/>
                <p:cNvSpPr/>
                <p:nvPr/>
              </p:nvSpPr>
              <p:spPr>
                <a:xfrm>
                  <a:off x="7189961" y="4586669"/>
                  <a:ext cx="945073" cy="955584"/>
                </a:xfrm>
                <a:custGeom>
                  <a:avLst/>
                  <a:gdLst>
                    <a:gd name="connsiteX0" fmla="*/ 348140 w 945073"/>
                    <a:gd name="connsiteY0" fmla="*/ 954995 h 955584"/>
                    <a:gd name="connsiteX1" fmla="*/ 882588 w 945073"/>
                    <a:gd name="connsiteY1" fmla="*/ 885462 h 955584"/>
                    <a:gd name="connsiteX2" fmla="*/ 940786 w 945073"/>
                    <a:gd name="connsiteY2" fmla="*/ 790117 h 955584"/>
                    <a:gd name="connsiteX3" fmla="*/ 673609 w 945073"/>
                    <a:gd name="connsiteY3" fmla="*/ 47453 h 955584"/>
                    <a:gd name="connsiteX4" fmla="*/ 596933 w 945073"/>
                    <a:gd name="connsiteY4" fmla="*/ 590 h 955584"/>
                    <a:gd name="connsiteX5" fmla="*/ 62486 w 945073"/>
                    <a:gd name="connsiteY5" fmla="*/ 70122 h 955584"/>
                    <a:gd name="connsiteX6" fmla="*/ 4288 w 945073"/>
                    <a:gd name="connsiteY6" fmla="*/ 165467 h 955584"/>
                    <a:gd name="connsiteX7" fmla="*/ 271464 w 945073"/>
                    <a:gd name="connsiteY7" fmla="*/ 908132 h 955584"/>
                    <a:gd name="connsiteX8" fmla="*/ 348140 w 945073"/>
                    <a:gd name="connsiteY8" fmla="*/ 954995 h 95558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945073" h="955584">
                      <a:moveTo>
                        <a:pt x="348140" y="954995"/>
                      </a:moveTo>
                      <a:lnTo>
                        <a:pt x="882588" y="885462"/>
                      </a:lnTo>
                      <a:cubicBezTo>
                        <a:pt x="928022" y="879557"/>
                        <a:pt x="956311" y="833170"/>
                        <a:pt x="940786" y="790117"/>
                      </a:cubicBezTo>
                      <a:lnTo>
                        <a:pt x="673609" y="47453"/>
                      </a:lnTo>
                      <a:cubicBezTo>
                        <a:pt x="662179" y="15734"/>
                        <a:pt x="630271" y="-3697"/>
                        <a:pt x="596933" y="590"/>
                      </a:cubicBezTo>
                      <a:lnTo>
                        <a:pt x="62486" y="70122"/>
                      </a:lnTo>
                      <a:cubicBezTo>
                        <a:pt x="17051" y="76028"/>
                        <a:pt x="-11238" y="122414"/>
                        <a:pt x="4288" y="165467"/>
                      </a:cubicBezTo>
                      <a:lnTo>
                        <a:pt x="271464" y="908132"/>
                      </a:lnTo>
                      <a:cubicBezTo>
                        <a:pt x="282799" y="939850"/>
                        <a:pt x="314707" y="959281"/>
                        <a:pt x="348140" y="954995"/>
                      </a:cubicBezTo>
                      <a:close/>
                    </a:path>
                  </a:pathLst>
                </a:custGeom>
                <a:solidFill>
                  <a:srgbClr val="5B7FC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grpSp>
              <p:nvGrpSpPr>
                <p:cNvPr id="128" name="图形 278"/>
                <p:cNvGrpSpPr/>
                <p:nvPr/>
              </p:nvGrpSpPr>
              <p:grpSpPr>
                <a:xfrm>
                  <a:off x="7989771" y="3391297"/>
                  <a:ext cx="568717" cy="959060"/>
                  <a:chOff x="7989771" y="3391297"/>
                  <a:chExt cx="568717" cy="959060"/>
                </a:xfrm>
                <a:solidFill>
                  <a:schemeClr val="accent1"/>
                </a:solidFill>
              </p:grpSpPr>
              <p:sp>
                <p:nvSpPr>
                  <p:cNvPr id="136" name="ïšḻíḓé"/>
                  <p:cNvSpPr/>
                  <p:nvPr/>
                </p:nvSpPr>
                <p:spPr>
                  <a:xfrm>
                    <a:off x="8130747" y="3941845"/>
                    <a:ext cx="319453" cy="408512"/>
                  </a:xfrm>
                  <a:custGeom>
                    <a:avLst/>
                    <a:gdLst>
                      <a:gd name="connsiteX0" fmla="*/ 193739 w 319453"/>
                      <a:gd name="connsiteY0" fmla="*/ 407289 h 408512"/>
                      <a:gd name="connsiteX1" fmla="*/ 193739 w 319453"/>
                      <a:gd name="connsiteY1" fmla="*/ 407289 h 408512"/>
                      <a:gd name="connsiteX2" fmla="*/ 318231 w 319453"/>
                      <a:gd name="connsiteY2" fmla="*/ 245554 h 408512"/>
                      <a:gd name="connsiteX3" fmla="*/ 286321 w 319453"/>
                      <a:gd name="connsiteY3" fmla="*/ 0 h 408512"/>
                      <a:gd name="connsiteX4" fmla="*/ 0 w 319453"/>
                      <a:gd name="connsiteY4" fmla="*/ 37243 h 408512"/>
                      <a:gd name="connsiteX5" fmla="*/ 31909 w 319453"/>
                      <a:gd name="connsiteY5" fmla="*/ 282797 h 408512"/>
                      <a:gd name="connsiteX6" fmla="*/ 193739 w 319453"/>
                      <a:gd name="connsiteY6" fmla="*/ 407289 h 40851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19453" h="408512">
                        <a:moveTo>
                          <a:pt x="193739" y="407289"/>
                        </a:moveTo>
                        <a:lnTo>
                          <a:pt x="193739" y="407289"/>
                        </a:lnTo>
                        <a:cubicBezTo>
                          <a:pt x="272796" y="397002"/>
                          <a:pt x="328518" y="324612"/>
                          <a:pt x="318231" y="245554"/>
                        </a:cubicBezTo>
                        <a:lnTo>
                          <a:pt x="286321" y="0"/>
                        </a:lnTo>
                        <a:lnTo>
                          <a:pt x="0" y="37243"/>
                        </a:lnTo>
                        <a:lnTo>
                          <a:pt x="31909" y="282797"/>
                        </a:lnTo>
                        <a:cubicBezTo>
                          <a:pt x="42196" y="361855"/>
                          <a:pt x="114681" y="417576"/>
                          <a:pt x="193739" y="407289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7" name="íşļiďè"/>
                  <p:cNvSpPr/>
                  <p:nvPr/>
                </p:nvSpPr>
                <p:spPr>
                  <a:xfrm>
                    <a:off x="7989771" y="3391297"/>
                    <a:ext cx="503467" cy="666664"/>
                  </a:xfrm>
                  <a:custGeom>
                    <a:avLst/>
                    <a:gdLst>
                      <a:gd name="connsiteX0" fmla="*/ 14389 w 503467"/>
                      <a:gd name="connsiteY0" fmla="*/ 408530 h 666664"/>
                      <a:gd name="connsiteX1" fmla="*/ 271183 w 503467"/>
                      <a:gd name="connsiteY1" fmla="*/ 664562 h 666664"/>
                      <a:gd name="connsiteX2" fmla="*/ 500450 w 503467"/>
                      <a:gd name="connsiteY2" fmla="*/ 345284 h 666664"/>
                      <a:gd name="connsiteX3" fmla="*/ 208890 w 503467"/>
                      <a:gd name="connsiteY3" fmla="*/ 3432 h 666664"/>
                      <a:gd name="connsiteX4" fmla="*/ 14389 w 503467"/>
                      <a:gd name="connsiteY4" fmla="*/ 408530 h 66666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503467" h="666664">
                        <a:moveTo>
                          <a:pt x="14389" y="408530"/>
                        </a:moveTo>
                        <a:cubicBezTo>
                          <a:pt x="38106" y="590553"/>
                          <a:pt x="136976" y="681993"/>
                          <a:pt x="271183" y="664562"/>
                        </a:cubicBezTo>
                        <a:cubicBezTo>
                          <a:pt x="405390" y="647131"/>
                          <a:pt x="524072" y="527307"/>
                          <a:pt x="500450" y="345284"/>
                        </a:cubicBezTo>
                        <a:cubicBezTo>
                          <a:pt x="476732" y="163261"/>
                          <a:pt x="451872" y="-28096"/>
                          <a:pt x="208890" y="3432"/>
                        </a:cubicBezTo>
                        <a:cubicBezTo>
                          <a:pt x="-34188" y="35055"/>
                          <a:pt x="-9328" y="226507"/>
                          <a:pt x="14389" y="408530"/>
                        </a:cubicBezTo>
                        <a:close/>
                      </a:path>
                    </a:pathLst>
                  </a:custGeom>
                  <a:solidFill>
                    <a:srgbClr val="F8C6C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8" name="ï$líďè"/>
                  <p:cNvSpPr/>
                  <p:nvPr/>
                </p:nvSpPr>
                <p:spPr>
                  <a:xfrm>
                    <a:off x="8454978" y="3652669"/>
                    <a:ext cx="103509" cy="175257"/>
                  </a:xfrm>
                  <a:custGeom>
                    <a:avLst/>
                    <a:gdLst>
                      <a:gd name="connsiteX0" fmla="*/ 102394 w 103509"/>
                      <a:gd name="connsiteY0" fmla="*/ 60100 h 175257"/>
                      <a:gd name="connsiteX1" fmla="*/ 21431 w 103509"/>
                      <a:gd name="connsiteY1" fmla="*/ 175257 h 175257"/>
                      <a:gd name="connsiteX2" fmla="*/ 0 w 103509"/>
                      <a:gd name="connsiteY2" fmla="*/ 10665 h 175257"/>
                      <a:gd name="connsiteX3" fmla="*/ 102394 w 103509"/>
                      <a:gd name="connsiteY3" fmla="*/ 60100 h 17525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103509" h="175257">
                        <a:moveTo>
                          <a:pt x="102394" y="60100"/>
                        </a:moveTo>
                        <a:cubicBezTo>
                          <a:pt x="114681" y="154398"/>
                          <a:pt x="21431" y="175257"/>
                          <a:pt x="21431" y="175257"/>
                        </a:cubicBezTo>
                        <a:lnTo>
                          <a:pt x="0" y="10665"/>
                        </a:lnTo>
                        <a:cubicBezTo>
                          <a:pt x="95" y="10665"/>
                          <a:pt x="90201" y="-34197"/>
                          <a:pt x="102394" y="60100"/>
                        </a:cubicBezTo>
                        <a:close/>
                      </a:path>
                    </a:pathLst>
                  </a:custGeom>
                  <a:solidFill>
                    <a:srgbClr val="F8C6C7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39" name="i$ļiḓè"/>
                  <p:cNvSpPr/>
                  <p:nvPr/>
                </p:nvSpPr>
                <p:spPr>
                  <a:xfrm>
                    <a:off x="8477076" y="3692416"/>
                    <a:ext cx="50379" cy="93981"/>
                  </a:xfrm>
                  <a:custGeom>
                    <a:avLst/>
                    <a:gdLst>
                      <a:gd name="connsiteX0" fmla="*/ 49720 w 50379"/>
                      <a:gd name="connsiteY0" fmla="*/ 32735 h 93981"/>
                      <a:gd name="connsiteX1" fmla="*/ 11525 w 50379"/>
                      <a:gd name="connsiteY1" fmla="*/ 93981 h 93981"/>
                      <a:gd name="connsiteX2" fmla="*/ 0 w 50379"/>
                      <a:gd name="connsiteY2" fmla="*/ 5399 h 93981"/>
                      <a:gd name="connsiteX3" fmla="*/ 49720 w 50379"/>
                      <a:gd name="connsiteY3" fmla="*/ 32735 h 9398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</a:cxnLst>
                    <a:rect l="l" t="t" r="r" b="b"/>
                    <a:pathLst>
                      <a:path w="50379" h="93981">
                        <a:moveTo>
                          <a:pt x="49720" y="32735"/>
                        </a:moveTo>
                        <a:cubicBezTo>
                          <a:pt x="56293" y="83504"/>
                          <a:pt x="11525" y="93981"/>
                          <a:pt x="11525" y="93981"/>
                        </a:cubicBezTo>
                        <a:lnTo>
                          <a:pt x="0" y="5399"/>
                        </a:lnTo>
                        <a:cubicBezTo>
                          <a:pt x="-95" y="5399"/>
                          <a:pt x="43053" y="-18033"/>
                          <a:pt x="49720" y="32735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0" name="iṩľíḑé"/>
                  <p:cNvSpPr/>
                  <p:nvPr/>
                </p:nvSpPr>
                <p:spPr>
                  <a:xfrm>
                    <a:off x="8297271" y="3672030"/>
                    <a:ext cx="66335" cy="49882"/>
                  </a:xfrm>
                  <a:custGeom>
                    <a:avLst/>
                    <a:gdLst>
                      <a:gd name="connsiteX0" fmla="*/ 66172 w 66335"/>
                      <a:gd name="connsiteY0" fmla="*/ 20641 h 49882"/>
                      <a:gd name="connsiteX1" fmla="*/ 36359 w 66335"/>
                      <a:gd name="connsiteY1" fmla="*/ 49502 h 49882"/>
                      <a:gd name="connsiteX2" fmla="*/ 163 w 66335"/>
                      <a:gd name="connsiteY2" fmla="*/ 29214 h 49882"/>
                      <a:gd name="connsiteX3" fmla="*/ 29977 w 66335"/>
                      <a:gd name="connsiteY3" fmla="*/ 353 h 49882"/>
                      <a:gd name="connsiteX4" fmla="*/ 66172 w 66335"/>
                      <a:gd name="connsiteY4" fmla="*/ 20641 h 4988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35" h="49882">
                        <a:moveTo>
                          <a:pt x="66172" y="20641"/>
                        </a:moveTo>
                        <a:cubicBezTo>
                          <a:pt x="67981" y="34167"/>
                          <a:pt x="54551" y="47121"/>
                          <a:pt x="36359" y="49502"/>
                        </a:cubicBezTo>
                        <a:cubicBezTo>
                          <a:pt x="18166" y="51883"/>
                          <a:pt x="1878" y="42835"/>
                          <a:pt x="163" y="29214"/>
                        </a:cubicBezTo>
                        <a:cubicBezTo>
                          <a:pt x="-1646" y="15688"/>
                          <a:pt x="11784" y="2734"/>
                          <a:pt x="29977" y="353"/>
                        </a:cubicBezTo>
                        <a:cubicBezTo>
                          <a:pt x="48170" y="-1933"/>
                          <a:pt x="64362" y="7116"/>
                          <a:pt x="66172" y="20641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1" name="ïŝḷîḋe"/>
                  <p:cNvSpPr/>
                  <p:nvPr/>
                </p:nvSpPr>
                <p:spPr>
                  <a:xfrm>
                    <a:off x="8064861" y="3702292"/>
                    <a:ext cx="66335" cy="49909"/>
                  </a:xfrm>
                  <a:custGeom>
                    <a:avLst/>
                    <a:gdLst>
                      <a:gd name="connsiteX0" fmla="*/ 66172 w 66335"/>
                      <a:gd name="connsiteY0" fmla="*/ 20668 h 49909"/>
                      <a:gd name="connsiteX1" fmla="*/ 36358 w 66335"/>
                      <a:gd name="connsiteY1" fmla="*/ 49529 h 49909"/>
                      <a:gd name="connsiteX2" fmla="*/ 163 w 66335"/>
                      <a:gd name="connsiteY2" fmla="*/ 29241 h 49909"/>
                      <a:gd name="connsiteX3" fmla="*/ 29977 w 66335"/>
                      <a:gd name="connsiteY3" fmla="*/ 380 h 49909"/>
                      <a:gd name="connsiteX4" fmla="*/ 66172 w 66335"/>
                      <a:gd name="connsiteY4" fmla="*/ 20668 h 4990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66335" h="49909">
                        <a:moveTo>
                          <a:pt x="66172" y="20668"/>
                        </a:moveTo>
                        <a:cubicBezTo>
                          <a:pt x="67981" y="34194"/>
                          <a:pt x="54551" y="47148"/>
                          <a:pt x="36358" y="49529"/>
                        </a:cubicBezTo>
                        <a:cubicBezTo>
                          <a:pt x="18166" y="51910"/>
                          <a:pt x="1878" y="42862"/>
                          <a:pt x="163" y="29241"/>
                        </a:cubicBezTo>
                        <a:cubicBezTo>
                          <a:pt x="-1646" y="15715"/>
                          <a:pt x="11784" y="2761"/>
                          <a:pt x="29977" y="380"/>
                        </a:cubicBezTo>
                        <a:cubicBezTo>
                          <a:pt x="48169" y="-2001"/>
                          <a:pt x="64362" y="7048"/>
                          <a:pt x="66172" y="20668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2" name="iṣlïḍe"/>
                  <p:cNvSpPr/>
                  <p:nvPr/>
                </p:nvSpPr>
                <p:spPr>
                  <a:xfrm>
                    <a:off x="8304120" y="3675068"/>
                    <a:ext cx="39587" cy="39587"/>
                  </a:xfrm>
                  <a:custGeom>
                    <a:avLst/>
                    <a:gdLst>
                      <a:gd name="connsiteX0" fmla="*/ 39415 w 39587"/>
                      <a:gd name="connsiteY0" fmla="*/ 17222 h 39587"/>
                      <a:gd name="connsiteX1" fmla="*/ 22366 w 39587"/>
                      <a:gd name="connsiteY1" fmla="*/ 39415 h 39587"/>
                      <a:gd name="connsiteX2" fmla="*/ 172 w 39587"/>
                      <a:gd name="connsiteY2" fmla="*/ 22365 h 39587"/>
                      <a:gd name="connsiteX3" fmla="*/ 17222 w 39587"/>
                      <a:gd name="connsiteY3" fmla="*/ 172 h 39587"/>
                      <a:gd name="connsiteX4" fmla="*/ 39415 w 39587"/>
                      <a:gd name="connsiteY4" fmla="*/ 17222 h 39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587" h="39587">
                        <a:moveTo>
                          <a:pt x="39415" y="17222"/>
                        </a:moveTo>
                        <a:cubicBezTo>
                          <a:pt x="40844" y="28080"/>
                          <a:pt x="33224" y="37986"/>
                          <a:pt x="22366" y="39415"/>
                        </a:cubicBezTo>
                        <a:cubicBezTo>
                          <a:pt x="11507" y="40844"/>
                          <a:pt x="1601" y="33224"/>
                          <a:pt x="172" y="22365"/>
                        </a:cubicBezTo>
                        <a:cubicBezTo>
                          <a:pt x="-1257" y="11507"/>
                          <a:pt x="6363" y="1601"/>
                          <a:pt x="17222" y="172"/>
                        </a:cubicBezTo>
                        <a:cubicBezTo>
                          <a:pt x="28080" y="-1257"/>
                          <a:pt x="37986" y="6363"/>
                          <a:pt x="39415" y="17222"/>
                        </a:cubicBezTo>
                        <a:close/>
                      </a:path>
                    </a:pathLst>
                  </a:custGeom>
                  <a:solidFill>
                    <a:srgbClr val="26273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3" name="îṩļíḋé"/>
                  <p:cNvSpPr/>
                  <p:nvPr/>
                </p:nvSpPr>
                <p:spPr>
                  <a:xfrm>
                    <a:off x="8071710" y="3705262"/>
                    <a:ext cx="39587" cy="39587"/>
                  </a:xfrm>
                  <a:custGeom>
                    <a:avLst/>
                    <a:gdLst>
                      <a:gd name="connsiteX0" fmla="*/ 39415 w 39587"/>
                      <a:gd name="connsiteY0" fmla="*/ 17222 h 39587"/>
                      <a:gd name="connsiteX1" fmla="*/ 22366 w 39587"/>
                      <a:gd name="connsiteY1" fmla="*/ 39415 h 39587"/>
                      <a:gd name="connsiteX2" fmla="*/ 172 w 39587"/>
                      <a:gd name="connsiteY2" fmla="*/ 22365 h 39587"/>
                      <a:gd name="connsiteX3" fmla="*/ 17222 w 39587"/>
                      <a:gd name="connsiteY3" fmla="*/ 172 h 39587"/>
                      <a:gd name="connsiteX4" fmla="*/ 39415 w 39587"/>
                      <a:gd name="connsiteY4" fmla="*/ 17222 h 395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9587" h="39587">
                        <a:moveTo>
                          <a:pt x="39415" y="17222"/>
                        </a:moveTo>
                        <a:cubicBezTo>
                          <a:pt x="40844" y="28080"/>
                          <a:pt x="33224" y="37986"/>
                          <a:pt x="22366" y="39415"/>
                        </a:cubicBezTo>
                        <a:cubicBezTo>
                          <a:pt x="11507" y="40844"/>
                          <a:pt x="1601" y="33224"/>
                          <a:pt x="172" y="22365"/>
                        </a:cubicBezTo>
                        <a:cubicBezTo>
                          <a:pt x="-1256" y="11507"/>
                          <a:pt x="6364" y="1601"/>
                          <a:pt x="17222" y="172"/>
                        </a:cubicBezTo>
                        <a:cubicBezTo>
                          <a:pt x="28080" y="-1257"/>
                          <a:pt x="37987" y="6363"/>
                          <a:pt x="39415" y="17222"/>
                        </a:cubicBezTo>
                        <a:close/>
                      </a:path>
                    </a:pathLst>
                  </a:custGeom>
                  <a:solidFill>
                    <a:srgbClr val="262739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4" name="îş1íḓé"/>
                  <p:cNvSpPr/>
                  <p:nvPr/>
                </p:nvSpPr>
                <p:spPr>
                  <a:xfrm>
                    <a:off x="8184182" y="3894029"/>
                    <a:ext cx="113157" cy="32779"/>
                  </a:xfrm>
                  <a:custGeom>
                    <a:avLst/>
                    <a:gdLst>
                      <a:gd name="connsiteX0" fmla="*/ 113157 w 113157"/>
                      <a:gd name="connsiteY0" fmla="*/ 0 h 32779"/>
                      <a:gd name="connsiteX1" fmla="*/ 0 w 113157"/>
                      <a:gd name="connsiteY1" fmla="*/ 14669 h 32779"/>
                      <a:gd name="connsiteX2" fmla="*/ 113157 w 113157"/>
                      <a:gd name="connsiteY2" fmla="*/ 0 h 32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113157" h="32779">
                        <a:moveTo>
                          <a:pt x="113157" y="0"/>
                        </a:moveTo>
                        <a:cubicBezTo>
                          <a:pt x="63912" y="63913"/>
                          <a:pt x="0" y="14669"/>
                          <a:pt x="0" y="14669"/>
                        </a:cubicBezTo>
                        <a:lnTo>
                          <a:pt x="113157" y="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5" name="ïŝlîḋè"/>
                  <p:cNvSpPr/>
                  <p:nvPr/>
                </p:nvSpPr>
                <p:spPr>
                  <a:xfrm>
                    <a:off x="8183851" y="3728485"/>
                    <a:ext cx="51480" cy="131696"/>
                  </a:xfrm>
                  <a:custGeom>
                    <a:avLst/>
                    <a:gdLst>
                      <a:gd name="connsiteX0" fmla="*/ 34431 w 51480"/>
                      <a:gd name="connsiteY0" fmla="*/ 0 h 131696"/>
                      <a:gd name="connsiteX1" fmla="*/ 51481 w 51480"/>
                      <a:gd name="connsiteY1" fmla="*/ 130778 h 131696"/>
                      <a:gd name="connsiteX2" fmla="*/ 34431 w 51480"/>
                      <a:gd name="connsiteY2" fmla="*/ 0 h 13169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</a:cxnLst>
                    <a:rect l="l" t="t" r="r" b="b"/>
                    <a:pathLst>
                      <a:path w="51480" h="131696">
                        <a:moveTo>
                          <a:pt x="34431" y="0"/>
                        </a:moveTo>
                        <a:lnTo>
                          <a:pt x="51481" y="130778"/>
                        </a:lnTo>
                        <a:cubicBezTo>
                          <a:pt x="-53390" y="144494"/>
                          <a:pt x="34431" y="0"/>
                          <a:pt x="34431" y="0"/>
                        </a:cubicBezTo>
                        <a:close/>
                      </a:path>
                    </a:pathLst>
                  </a:custGeom>
                  <a:solidFill>
                    <a:srgbClr val="F39798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6" name="işľïḋe"/>
                  <p:cNvSpPr/>
                  <p:nvPr/>
                </p:nvSpPr>
                <p:spPr>
                  <a:xfrm>
                    <a:off x="8289243" y="3646237"/>
                    <a:ext cx="72295" cy="17287"/>
                  </a:xfrm>
                  <a:custGeom>
                    <a:avLst/>
                    <a:gdLst>
                      <a:gd name="connsiteX0" fmla="*/ 0 w 72295"/>
                      <a:gd name="connsiteY0" fmla="*/ 17288 h 17287"/>
                      <a:gd name="connsiteX1" fmla="*/ 72295 w 72295"/>
                      <a:gd name="connsiteY1" fmla="*/ 7858 h 1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2295" h="17287">
                        <a:moveTo>
                          <a:pt x="0" y="17288"/>
                        </a:moveTo>
                        <a:cubicBezTo>
                          <a:pt x="0" y="17288"/>
                          <a:pt x="32671" y="-14240"/>
                          <a:pt x="72295" y="7858"/>
                        </a:cubicBezTo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7" name="îṡḻiḋè"/>
                  <p:cNvSpPr/>
                  <p:nvPr/>
                </p:nvSpPr>
                <p:spPr>
                  <a:xfrm>
                    <a:off x="8056833" y="3676431"/>
                    <a:ext cx="72294" cy="17287"/>
                  </a:xfrm>
                  <a:custGeom>
                    <a:avLst/>
                    <a:gdLst>
                      <a:gd name="connsiteX0" fmla="*/ 0 w 72294"/>
                      <a:gd name="connsiteY0" fmla="*/ 17288 h 17287"/>
                      <a:gd name="connsiteX1" fmla="*/ 72294 w 72294"/>
                      <a:gd name="connsiteY1" fmla="*/ 7858 h 1728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72294" h="17287">
                        <a:moveTo>
                          <a:pt x="0" y="17288"/>
                        </a:moveTo>
                        <a:cubicBezTo>
                          <a:pt x="0" y="17288"/>
                          <a:pt x="32671" y="-14240"/>
                          <a:pt x="72294" y="7858"/>
                        </a:cubicBezTo>
                      </a:path>
                    </a:pathLst>
                  </a:custGeom>
                  <a:noFill/>
                  <a:ln w="5911" cap="flat">
                    <a:solidFill>
                      <a:srgbClr val="262739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8" name="isḷîḍè"/>
                  <p:cNvSpPr/>
                  <p:nvPr/>
                </p:nvSpPr>
                <p:spPr>
                  <a:xfrm>
                    <a:off x="8320961" y="3740010"/>
                    <a:ext cx="140779" cy="140779"/>
                  </a:xfrm>
                  <a:custGeom>
                    <a:avLst/>
                    <a:gdLst>
                      <a:gd name="connsiteX0" fmla="*/ 140779 w 140779"/>
                      <a:gd name="connsiteY0" fmla="*/ 70390 h 140779"/>
                      <a:gd name="connsiteX1" fmla="*/ 70389 w 140779"/>
                      <a:gd name="connsiteY1" fmla="*/ 140780 h 140779"/>
                      <a:gd name="connsiteX2" fmla="*/ -1 w 140779"/>
                      <a:gd name="connsiteY2" fmla="*/ 70390 h 140779"/>
                      <a:gd name="connsiteX3" fmla="*/ 70389 w 140779"/>
                      <a:gd name="connsiteY3" fmla="*/ 0 h 140779"/>
                      <a:gd name="connsiteX4" fmla="*/ 140779 w 140779"/>
                      <a:gd name="connsiteY4" fmla="*/ 70390 h 1407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40779" h="140779">
                        <a:moveTo>
                          <a:pt x="140779" y="70390"/>
                        </a:moveTo>
                        <a:cubicBezTo>
                          <a:pt x="140779" y="109265"/>
                          <a:pt x="109265" y="140780"/>
                          <a:pt x="70389" y="140780"/>
                        </a:cubicBezTo>
                        <a:cubicBezTo>
                          <a:pt x="31514" y="140780"/>
                          <a:pt x="-1" y="109265"/>
                          <a:pt x="-1" y="70390"/>
                        </a:cubicBezTo>
                        <a:cubicBezTo>
                          <a:pt x="-1" y="31515"/>
                          <a:pt x="31514" y="0"/>
                          <a:pt x="70389" y="0"/>
                        </a:cubicBezTo>
                        <a:cubicBezTo>
                          <a:pt x="109264" y="0"/>
                          <a:pt x="140779" y="31515"/>
                          <a:pt x="140779" y="70390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  <p:sp>
                <p:nvSpPr>
                  <p:cNvPr id="149" name="îṧlîḓé"/>
                  <p:cNvSpPr/>
                  <p:nvPr/>
                </p:nvSpPr>
                <p:spPr>
                  <a:xfrm>
                    <a:off x="8006065" y="3782556"/>
                    <a:ext cx="127665" cy="140800"/>
                  </a:xfrm>
                  <a:custGeom>
                    <a:avLst/>
                    <a:gdLst>
                      <a:gd name="connsiteX0" fmla="*/ 48196 w 127665"/>
                      <a:gd name="connsiteY0" fmla="*/ 602 h 140800"/>
                      <a:gd name="connsiteX1" fmla="*/ 127063 w 127665"/>
                      <a:gd name="connsiteY1" fmla="*/ 61372 h 140800"/>
                      <a:gd name="connsiteX2" fmla="*/ 66294 w 127665"/>
                      <a:gd name="connsiteY2" fmla="*/ 140239 h 140800"/>
                      <a:gd name="connsiteX3" fmla="*/ 28480 w 127665"/>
                      <a:gd name="connsiteY3" fmla="*/ 134429 h 140800"/>
                      <a:gd name="connsiteX4" fmla="*/ 0 w 127665"/>
                      <a:gd name="connsiteY4" fmla="*/ 29654 h 140800"/>
                      <a:gd name="connsiteX5" fmla="*/ 48196 w 127665"/>
                      <a:gd name="connsiteY5" fmla="*/ 602 h 1408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127665" h="140800">
                        <a:moveTo>
                          <a:pt x="48196" y="602"/>
                        </a:moveTo>
                        <a:cubicBezTo>
                          <a:pt x="86773" y="-4446"/>
                          <a:pt x="122111" y="22796"/>
                          <a:pt x="127063" y="61372"/>
                        </a:cubicBezTo>
                        <a:cubicBezTo>
                          <a:pt x="132112" y="99948"/>
                          <a:pt x="104870" y="135286"/>
                          <a:pt x="66294" y="140239"/>
                        </a:cubicBezTo>
                        <a:cubicBezTo>
                          <a:pt x="52864" y="141953"/>
                          <a:pt x="40005" y="139667"/>
                          <a:pt x="28480" y="134429"/>
                        </a:cubicBezTo>
                        <a:cubicBezTo>
                          <a:pt x="15621" y="104139"/>
                          <a:pt x="6001" y="69087"/>
                          <a:pt x="0" y="29654"/>
                        </a:cubicBezTo>
                        <a:cubicBezTo>
                          <a:pt x="11049" y="14318"/>
                          <a:pt x="27908" y="3269"/>
                          <a:pt x="48196" y="602"/>
                        </a:cubicBezTo>
                        <a:close/>
                      </a:path>
                    </a:pathLst>
                  </a:custGeom>
                  <a:solidFill>
                    <a:srgbClr val="F6AFAD"/>
                  </a:solidFill>
                  <a:ln w="9525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zh-CN" altLang="en-US"/>
                  </a:p>
                </p:txBody>
              </p:sp>
            </p:grpSp>
            <p:sp>
              <p:nvSpPr>
                <p:cNvPr id="129" name="íṩ1iḓé"/>
                <p:cNvSpPr/>
                <p:nvPr/>
              </p:nvSpPr>
              <p:spPr>
                <a:xfrm>
                  <a:off x="9245401" y="6085446"/>
                  <a:ext cx="235999" cy="402931"/>
                </a:xfrm>
                <a:custGeom>
                  <a:avLst/>
                  <a:gdLst>
                    <a:gd name="connsiteX0" fmla="*/ 13582 w 235999"/>
                    <a:gd name="connsiteY0" fmla="*/ 39053 h 402931"/>
                    <a:gd name="connsiteX1" fmla="*/ 19679 w 235999"/>
                    <a:gd name="connsiteY1" fmla="*/ 312039 h 402931"/>
                    <a:gd name="connsiteX2" fmla="*/ 58159 w 235999"/>
                    <a:gd name="connsiteY2" fmla="*/ 243840 h 402931"/>
                    <a:gd name="connsiteX3" fmla="*/ 124454 w 235999"/>
                    <a:gd name="connsiteY3" fmla="*/ 402336 h 402931"/>
                    <a:gd name="connsiteX4" fmla="*/ 142075 w 235999"/>
                    <a:gd name="connsiteY4" fmla="*/ 346520 h 402931"/>
                    <a:gd name="connsiteX5" fmla="*/ 165220 w 235999"/>
                    <a:gd name="connsiteY5" fmla="*/ 358045 h 402931"/>
                    <a:gd name="connsiteX6" fmla="*/ 179698 w 235999"/>
                    <a:gd name="connsiteY6" fmla="*/ 318230 h 402931"/>
                    <a:gd name="connsiteX7" fmla="*/ 206274 w 235999"/>
                    <a:gd name="connsiteY7" fmla="*/ 284607 h 402931"/>
                    <a:gd name="connsiteX8" fmla="*/ 230658 w 235999"/>
                    <a:gd name="connsiteY8" fmla="*/ 220789 h 402931"/>
                    <a:gd name="connsiteX9" fmla="*/ 185318 w 235999"/>
                    <a:gd name="connsiteY9" fmla="*/ 0 h 40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235999" h="402931">
                      <a:moveTo>
                        <a:pt x="13582" y="39053"/>
                      </a:moveTo>
                      <a:cubicBezTo>
                        <a:pt x="13582" y="39053"/>
                        <a:pt x="-20707" y="295465"/>
                        <a:pt x="19679" y="312039"/>
                      </a:cubicBezTo>
                      <a:cubicBezTo>
                        <a:pt x="60160" y="328613"/>
                        <a:pt x="58159" y="243840"/>
                        <a:pt x="58159" y="243840"/>
                      </a:cubicBezTo>
                      <a:cubicBezTo>
                        <a:pt x="58159" y="243840"/>
                        <a:pt x="95879" y="414242"/>
                        <a:pt x="124454" y="402336"/>
                      </a:cubicBezTo>
                      <a:cubicBezTo>
                        <a:pt x="152933" y="390430"/>
                        <a:pt x="142075" y="346520"/>
                        <a:pt x="142075" y="346520"/>
                      </a:cubicBezTo>
                      <a:cubicBezTo>
                        <a:pt x="142075" y="346520"/>
                        <a:pt x="150457" y="364236"/>
                        <a:pt x="165220" y="358045"/>
                      </a:cubicBezTo>
                      <a:cubicBezTo>
                        <a:pt x="179984" y="351854"/>
                        <a:pt x="176079" y="319754"/>
                        <a:pt x="179698" y="318230"/>
                      </a:cubicBezTo>
                      <a:cubicBezTo>
                        <a:pt x="196843" y="344805"/>
                        <a:pt x="220751" y="319183"/>
                        <a:pt x="206274" y="284607"/>
                      </a:cubicBezTo>
                      <a:cubicBezTo>
                        <a:pt x="234849" y="307277"/>
                        <a:pt x="242468" y="273844"/>
                        <a:pt x="230658" y="220789"/>
                      </a:cubicBezTo>
                      <a:cubicBezTo>
                        <a:pt x="218846" y="167735"/>
                        <a:pt x="185318" y="0"/>
                        <a:pt x="185318" y="0"/>
                      </a:cubicBezTo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0" name="iṩľïďè"/>
                <p:cNvSpPr/>
                <p:nvPr/>
              </p:nvSpPr>
              <p:spPr>
                <a:xfrm>
                  <a:off x="7241590" y="5072028"/>
                  <a:ext cx="306100" cy="330838"/>
                </a:xfrm>
                <a:custGeom>
                  <a:avLst/>
                  <a:gdLst>
                    <a:gd name="connsiteX0" fmla="*/ 286034 w 306100"/>
                    <a:gd name="connsiteY0" fmla="*/ 3863 h 330838"/>
                    <a:gd name="connsiteX1" fmla="*/ 139825 w 306100"/>
                    <a:gd name="connsiteY1" fmla="*/ 94065 h 330838"/>
                    <a:gd name="connsiteX2" fmla="*/ 148303 w 306100"/>
                    <a:gd name="connsiteY2" fmla="*/ 16151 h 330838"/>
                    <a:gd name="connsiteX3" fmla="*/ 13333 w 306100"/>
                    <a:gd name="connsiteY3" fmla="*/ 182457 h 330838"/>
                    <a:gd name="connsiteX4" fmla="*/ 14762 w 306100"/>
                    <a:gd name="connsiteY4" fmla="*/ 283898 h 330838"/>
                    <a:gd name="connsiteX5" fmla="*/ 14762 w 306100"/>
                    <a:gd name="connsiteY5" fmla="*/ 283898 h 330838"/>
                    <a:gd name="connsiteX6" fmla="*/ 165447 w 306100"/>
                    <a:gd name="connsiteY6" fmla="*/ 305044 h 330838"/>
                    <a:gd name="connsiteX7" fmla="*/ 266603 w 306100"/>
                    <a:gd name="connsiteY7" fmla="*/ 213223 h 330838"/>
                    <a:gd name="connsiteX8" fmla="*/ 284034 w 306100"/>
                    <a:gd name="connsiteY8" fmla="*/ 147119 h 330838"/>
                    <a:gd name="connsiteX9" fmla="*/ 282033 w 306100"/>
                    <a:gd name="connsiteY9" fmla="*/ 104257 h 330838"/>
                    <a:gd name="connsiteX10" fmla="*/ 293463 w 306100"/>
                    <a:gd name="connsiteY10" fmla="*/ 63394 h 330838"/>
                    <a:gd name="connsiteX11" fmla="*/ 267937 w 306100"/>
                    <a:gd name="connsiteY11" fmla="*/ 59299 h 330838"/>
                    <a:gd name="connsiteX12" fmla="*/ 286034 w 306100"/>
                    <a:gd name="connsiteY12" fmla="*/ 3863 h 330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06100" h="330838">
                      <a:moveTo>
                        <a:pt x="286034" y="3863"/>
                      </a:moveTo>
                      <a:cubicBezTo>
                        <a:pt x="269842" y="-22426"/>
                        <a:pt x="139825" y="94065"/>
                        <a:pt x="139825" y="94065"/>
                      </a:cubicBezTo>
                      <a:cubicBezTo>
                        <a:pt x="139825" y="94065"/>
                        <a:pt x="190784" y="26247"/>
                        <a:pt x="148303" y="16151"/>
                      </a:cubicBezTo>
                      <a:cubicBezTo>
                        <a:pt x="118965" y="9197"/>
                        <a:pt x="52005" y="115687"/>
                        <a:pt x="13333" y="182457"/>
                      </a:cubicBezTo>
                      <a:cubicBezTo>
                        <a:pt x="-4955" y="213985"/>
                        <a:pt x="-4383" y="252847"/>
                        <a:pt x="14762" y="283898"/>
                      </a:cubicBezTo>
                      <a:lnTo>
                        <a:pt x="14762" y="283898"/>
                      </a:lnTo>
                      <a:cubicBezTo>
                        <a:pt x="47242" y="336572"/>
                        <a:pt x="119632" y="346763"/>
                        <a:pt x="165447" y="305044"/>
                      </a:cubicBezTo>
                      <a:cubicBezTo>
                        <a:pt x="205357" y="268658"/>
                        <a:pt x="247744" y="230177"/>
                        <a:pt x="266603" y="213223"/>
                      </a:cubicBezTo>
                      <a:cubicBezTo>
                        <a:pt x="307084" y="176933"/>
                        <a:pt x="320419" y="145310"/>
                        <a:pt x="284034" y="147119"/>
                      </a:cubicBezTo>
                      <a:cubicBezTo>
                        <a:pt x="315942" y="127403"/>
                        <a:pt x="311466" y="92636"/>
                        <a:pt x="282033" y="104257"/>
                      </a:cubicBezTo>
                      <a:cubicBezTo>
                        <a:pt x="279938" y="100828"/>
                        <a:pt x="301846" y="77015"/>
                        <a:pt x="293463" y="63394"/>
                      </a:cubicBezTo>
                      <a:cubicBezTo>
                        <a:pt x="285081" y="49774"/>
                        <a:pt x="267937" y="59299"/>
                        <a:pt x="267937" y="59299"/>
                      </a:cubicBezTo>
                      <a:cubicBezTo>
                        <a:pt x="267937" y="59299"/>
                        <a:pt x="302226" y="30152"/>
                        <a:pt x="286034" y="386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1" name="îŝ1íḓê"/>
                <p:cNvSpPr/>
                <p:nvPr/>
              </p:nvSpPr>
              <p:spPr>
                <a:xfrm>
                  <a:off x="8151298" y="4129773"/>
                  <a:ext cx="311579" cy="393287"/>
                </a:xfrm>
                <a:custGeom>
                  <a:avLst/>
                  <a:gdLst>
                    <a:gd name="connsiteX0" fmla="*/ 3357 w 311579"/>
                    <a:gd name="connsiteY0" fmla="*/ 37243 h 393287"/>
                    <a:gd name="connsiteX1" fmla="*/ 164043 w 311579"/>
                    <a:gd name="connsiteY1" fmla="*/ 164687 h 393287"/>
                    <a:gd name="connsiteX2" fmla="*/ 290250 w 311579"/>
                    <a:gd name="connsiteY2" fmla="*/ 0 h 393287"/>
                    <a:gd name="connsiteX3" fmla="*/ 193761 w 311579"/>
                    <a:gd name="connsiteY3" fmla="*/ 393287 h 393287"/>
                    <a:gd name="connsiteX4" fmla="*/ 3357 w 311579"/>
                    <a:gd name="connsiteY4" fmla="*/ 37243 h 3932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11579" h="393287">
                      <a:moveTo>
                        <a:pt x="3357" y="37243"/>
                      </a:moveTo>
                      <a:cubicBezTo>
                        <a:pt x="3357" y="37243"/>
                        <a:pt x="56697" y="178594"/>
                        <a:pt x="164043" y="164687"/>
                      </a:cubicBezTo>
                      <a:cubicBezTo>
                        <a:pt x="271295" y="150686"/>
                        <a:pt x="290250" y="0"/>
                        <a:pt x="290250" y="0"/>
                      </a:cubicBezTo>
                      <a:cubicBezTo>
                        <a:pt x="290250" y="0"/>
                        <a:pt x="379213" y="152400"/>
                        <a:pt x="193761" y="393287"/>
                      </a:cubicBezTo>
                      <a:cubicBezTo>
                        <a:pt x="-41125" y="209169"/>
                        <a:pt x="3357" y="37243"/>
                        <a:pt x="3357" y="37243"/>
                      </a:cubicBez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2" name="ïṥḷïḋé"/>
                <p:cNvSpPr/>
                <p:nvPr/>
              </p:nvSpPr>
              <p:spPr>
                <a:xfrm>
                  <a:off x="8162751" y="5667108"/>
                  <a:ext cx="218979" cy="249745"/>
                </a:xfrm>
                <a:custGeom>
                  <a:avLst/>
                  <a:gdLst>
                    <a:gd name="connsiteX0" fmla="*/ 0 w 218979"/>
                    <a:gd name="connsiteY0" fmla="*/ 198501 h 249745"/>
                    <a:gd name="connsiteX1" fmla="*/ 152781 w 218979"/>
                    <a:gd name="connsiteY1" fmla="*/ 0 h 249745"/>
                    <a:gd name="connsiteX2" fmla="*/ 218980 w 218979"/>
                    <a:gd name="connsiteY2" fmla="*/ 50959 h 249745"/>
                    <a:gd name="connsiteX3" fmla="*/ 65913 w 218979"/>
                    <a:gd name="connsiteY3" fmla="*/ 249746 h 2497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18979" h="249745">
                      <a:moveTo>
                        <a:pt x="0" y="198501"/>
                      </a:moveTo>
                      <a:lnTo>
                        <a:pt x="152781" y="0"/>
                      </a:lnTo>
                      <a:lnTo>
                        <a:pt x="218980" y="50959"/>
                      </a:lnTo>
                      <a:lnTo>
                        <a:pt x="65913" y="249746"/>
                      </a:ln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3" name="iślïďè"/>
                <p:cNvSpPr/>
                <p:nvPr/>
              </p:nvSpPr>
              <p:spPr>
                <a:xfrm>
                  <a:off x="8800545" y="5597385"/>
                  <a:ext cx="249459" cy="219170"/>
                </a:xfrm>
                <a:custGeom>
                  <a:avLst/>
                  <a:gdLst>
                    <a:gd name="connsiteX0" fmla="*/ 249460 w 249459"/>
                    <a:gd name="connsiteY0" fmla="*/ 152876 h 219170"/>
                    <a:gd name="connsiteX1" fmla="*/ 50959 w 249459"/>
                    <a:gd name="connsiteY1" fmla="*/ 0 h 219170"/>
                    <a:gd name="connsiteX2" fmla="*/ 0 w 249459"/>
                    <a:gd name="connsiteY2" fmla="*/ 66199 h 219170"/>
                    <a:gd name="connsiteX3" fmla="*/ 198787 w 249459"/>
                    <a:gd name="connsiteY3" fmla="*/ 219170 h 219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9459" h="219170">
                      <a:moveTo>
                        <a:pt x="249460" y="152876"/>
                      </a:moveTo>
                      <a:lnTo>
                        <a:pt x="50959" y="0"/>
                      </a:lnTo>
                      <a:lnTo>
                        <a:pt x="0" y="66199"/>
                      </a:lnTo>
                      <a:lnTo>
                        <a:pt x="198787" y="219170"/>
                      </a:lnTo>
                      <a:close/>
                    </a:path>
                  </a:pathLst>
                </a:custGeom>
                <a:solidFill>
                  <a:srgbClr val="E598B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4" name="iṡlïḑê"/>
                <p:cNvSpPr/>
                <p:nvPr/>
              </p:nvSpPr>
              <p:spPr>
                <a:xfrm>
                  <a:off x="8162751" y="5667108"/>
                  <a:ext cx="152780" cy="198500"/>
                </a:xfrm>
                <a:custGeom>
                  <a:avLst/>
                  <a:gdLst>
                    <a:gd name="connsiteX0" fmla="*/ 0 w 152780"/>
                    <a:gd name="connsiteY0" fmla="*/ 198501 h 198500"/>
                    <a:gd name="connsiteX1" fmla="*/ 152781 w 152780"/>
                    <a:gd name="connsiteY1" fmla="*/ 0 h 1985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52780" h="198500">
                      <a:moveTo>
                        <a:pt x="0" y="198501"/>
                      </a:moveTo>
                      <a:lnTo>
                        <a:pt x="152781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35" name="iṥļidê"/>
                <p:cNvSpPr/>
                <p:nvPr/>
              </p:nvSpPr>
              <p:spPr>
                <a:xfrm>
                  <a:off x="8851504" y="5597385"/>
                  <a:ext cx="198501" cy="152876"/>
                </a:xfrm>
                <a:custGeom>
                  <a:avLst/>
                  <a:gdLst>
                    <a:gd name="connsiteX0" fmla="*/ 198501 w 198501"/>
                    <a:gd name="connsiteY0" fmla="*/ 152876 h 152876"/>
                    <a:gd name="connsiteX1" fmla="*/ 0 w 198501"/>
                    <a:gd name="connsiteY1" fmla="*/ 0 h 1528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8501" h="152876">
                      <a:moveTo>
                        <a:pt x="198501" y="152876"/>
                      </a:moveTo>
                      <a:lnTo>
                        <a:pt x="0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12" name="ïślíḓê"/>
              <p:cNvSpPr/>
              <p:nvPr/>
            </p:nvSpPr>
            <p:spPr>
              <a:xfrm>
                <a:off x="8005589" y="3632996"/>
                <a:ext cx="493871" cy="430581"/>
              </a:xfrm>
              <a:custGeom>
                <a:avLst/>
                <a:gdLst>
                  <a:gd name="connsiteX0" fmla="*/ 483965 w 493871"/>
                  <a:gd name="connsiteY0" fmla="*/ 189310 h 430581"/>
                  <a:gd name="connsiteX1" fmla="*/ 479203 w 493871"/>
                  <a:gd name="connsiteY1" fmla="*/ 226934 h 430581"/>
                  <a:gd name="connsiteX2" fmla="*/ 420148 w 493871"/>
                  <a:gd name="connsiteY2" fmla="*/ 136827 h 430581"/>
                  <a:gd name="connsiteX3" fmla="*/ 476250 w 493871"/>
                  <a:gd name="connsiteY3" fmla="*/ 6621 h 430581"/>
                  <a:gd name="connsiteX4" fmla="*/ 473583 w 493871"/>
                  <a:gd name="connsiteY4" fmla="*/ 334 h 430581"/>
                  <a:gd name="connsiteX5" fmla="*/ 467106 w 493871"/>
                  <a:gd name="connsiteY5" fmla="*/ 3001 h 430581"/>
                  <a:gd name="connsiteX6" fmla="*/ 411385 w 493871"/>
                  <a:gd name="connsiteY6" fmla="*/ 132160 h 430581"/>
                  <a:gd name="connsiteX7" fmla="*/ 240982 w 493871"/>
                  <a:gd name="connsiteY7" fmla="*/ 154354 h 430581"/>
                  <a:gd name="connsiteX8" fmla="*/ 0 w 493871"/>
                  <a:gd name="connsiteY8" fmla="*/ 191215 h 430581"/>
                  <a:gd name="connsiteX9" fmla="*/ 29623 w 493871"/>
                  <a:gd name="connsiteY9" fmla="*/ 303134 h 430581"/>
                  <a:gd name="connsiteX10" fmla="*/ 270224 w 493871"/>
                  <a:gd name="connsiteY10" fmla="*/ 428388 h 430581"/>
                  <a:gd name="connsiteX11" fmla="*/ 484822 w 493871"/>
                  <a:gd name="connsiteY11" fmla="*/ 243222 h 430581"/>
                  <a:gd name="connsiteX12" fmla="*/ 485204 w 493871"/>
                  <a:gd name="connsiteY12" fmla="*/ 243317 h 430581"/>
                  <a:gd name="connsiteX13" fmla="*/ 493871 w 493871"/>
                  <a:gd name="connsiteY13" fmla="*/ 188453 h 430581"/>
                  <a:gd name="connsiteX14" fmla="*/ 483965 w 493871"/>
                  <a:gd name="connsiteY14" fmla="*/ 189310 h 4305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493871" h="430581">
                    <a:moveTo>
                      <a:pt x="483965" y="189310"/>
                    </a:moveTo>
                    <a:cubicBezTo>
                      <a:pt x="483965" y="189310"/>
                      <a:pt x="480917" y="218552"/>
                      <a:pt x="479203" y="226934"/>
                    </a:cubicBezTo>
                    <a:cubicBezTo>
                      <a:pt x="445579" y="190072"/>
                      <a:pt x="426434" y="150925"/>
                      <a:pt x="420148" y="136827"/>
                    </a:cubicBezTo>
                    <a:lnTo>
                      <a:pt x="476250" y="6621"/>
                    </a:lnTo>
                    <a:cubicBezTo>
                      <a:pt x="477298" y="4144"/>
                      <a:pt x="476155" y="1382"/>
                      <a:pt x="473583" y="334"/>
                    </a:cubicBezTo>
                    <a:cubicBezTo>
                      <a:pt x="471106" y="-618"/>
                      <a:pt x="468153" y="525"/>
                      <a:pt x="467106" y="3001"/>
                    </a:cubicBezTo>
                    <a:lnTo>
                      <a:pt x="411385" y="132160"/>
                    </a:lnTo>
                    <a:lnTo>
                      <a:pt x="240982" y="154354"/>
                    </a:lnTo>
                    <a:lnTo>
                      <a:pt x="0" y="191215"/>
                    </a:lnTo>
                    <a:cubicBezTo>
                      <a:pt x="0" y="191215"/>
                      <a:pt x="18955" y="276559"/>
                      <a:pt x="29623" y="303134"/>
                    </a:cubicBezTo>
                    <a:cubicBezTo>
                      <a:pt x="65341" y="392002"/>
                      <a:pt x="166401" y="441913"/>
                      <a:pt x="270224" y="428388"/>
                    </a:cubicBezTo>
                    <a:cubicBezTo>
                      <a:pt x="373951" y="414862"/>
                      <a:pt x="460153" y="335710"/>
                      <a:pt x="484822" y="243222"/>
                    </a:cubicBezTo>
                    <a:lnTo>
                      <a:pt x="485204" y="243317"/>
                    </a:lnTo>
                    <a:cubicBezTo>
                      <a:pt x="485489" y="242365"/>
                      <a:pt x="493871" y="188453"/>
                      <a:pt x="493871" y="188453"/>
                    </a:cubicBezTo>
                    <a:lnTo>
                      <a:pt x="483965" y="189310"/>
                    </a:ln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3" name="i$ḻíďe"/>
              <p:cNvSpPr/>
              <p:nvPr/>
            </p:nvSpPr>
            <p:spPr>
              <a:xfrm>
                <a:off x="8196299" y="3152438"/>
                <a:ext cx="321670" cy="267214"/>
              </a:xfrm>
              <a:custGeom>
                <a:avLst/>
                <a:gdLst>
                  <a:gd name="connsiteX0" fmla="*/ 73418 w 321670"/>
                  <a:gd name="connsiteY0" fmla="*/ 216288 h 267214"/>
                  <a:gd name="connsiteX1" fmla="*/ 3600 w 321670"/>
                  <a:gd name="connsiteY1" fmla="*/ 118276 h 267214"/>
                  <a:gd name="connsiteX2" fmla="*/ 32079 w 321670"/>
                  <a:gd name="connsiteY2" fmla="*/ 19597 h 267214"/>
                  <a:gd name="connsiteX3" fmla="*/ 320211 w 321670"/>
                  <a:gd name="connsiteY3" fmla="*/ 180855 h 267214"/>
                  <a:gd name="connsiteX4" fmla="*/ 73418 w 321670"/>
                  <a:gd name="connsiteY4" fmla="*/ 216288 h 2672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1670" h="267214">
                    <a:moveTo>
                      <a:pt x="73418" y="216288"/>
                    </a:moveTo>
                    <a:cubicBezTo>
                      <a:pt x="39223" y="192856"/>
                      <a:pt x="12935" y="158757"/>
                      <a:pt x="3600" y="118276"/>
                    </a:cubicBezTo>
                    <a:cubicBezTo>
                      <a:pt x="-3734" y="86557"/>
                      <a:pt x="-2401" y="47695"/>
                      <a:pt x="32079" y="19597"/>
                    </a:cubicBezTo>
                    <a:cubicBezTo>
                      <a:pt x="101136" y="-36601"/>
                      <a:pt x="342595" y="31408"/>
                      <a:pt x="320211" y="180855"/>
                    </a:cubicBezTo>
                    <a:cubicBezTo>
                      <a:pt x="301827" y="304108"/>
                      <a:pt x="160191" y="276010"/>
                      <a:pt x="73418" y="216288"/>
                    </a:cubicBez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4" name="ïṣ1ídè"/>
              <p:cNvSpPr/>
              <p:nvPr/>
            </p:nvSpPr>
            <p:spPr>
              <a:xfrm>
                <a:off x="7870060" y="3268944"/>
                <a:ext cx="701920" cy="509402"/>
              </a:xfrm>
              <a:custGeom>
                <a:avLst/>
                <a:gdLst>
                  <a:gd name="connsiteX0" fmla="*/ 697598 w 701920"/>
                  <a:gd name="connsiteY0" fmla="*/ 265898 h 509402"/>
                  <a:gd name="connsiteX1" fmla="*/ 143244 w 701920"/>
                  <a:gd name="connsiteY1" fmla="*/ 91114 h 509402"/>
                  <a:gd name="connsiteX2" fmla="*/ 69997 w 701920"/>
                  <a:gd name="connsiteY2" fmla="*/ 209224 h 509402"/>
                  <a:gd name="connsiteX3" fmla="*/ 8656 w 701920"/>
                  <a:gd name="connsiteY3" fmla="*/ 475257 h 509402"/>
                  <a:gd name="connsiteX4" fmla="*/ 156198 w 701920"/>
                  <a:gd name="connsiteY4" fmla="*/ 389818 h 509402"/>
                  <a:gd name="connsiteX5" fmla="*/ 514719 w 701920"/>
                  <a:gd name="connsiteY5" fmla="*/ 197222 h 509402"/>
                  <a:gd name="connsiteX6" fmla="*/ 685978 w 701920"/>
                  <a:gd name="connsiteY6" fmla="*/ 373625 h 509402"/>
                  <a:gd name="connsiteX7" fmla="*/ 697598 w 701920"/>
                  <a:gd name="connsiteY7" fmla="*/ 265898 h 509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01920" h="509402">
                    <a:moveTo>
                      <a:pt x="697598" y="265898"/>
                    </a:moveTo>
                    <a:cubicBezTo>
                      <a:pt x="652545" y="9103"/>
                      <a:pt x="333649" y="-87004"/>
                      <a:pt x="143244" y="91114"/>
                    </a:cubicBezTo>
                    <a:cubicBezTo>
                      <a:pt x="106096" y="125785"/>
                      <a:pt x="77712" y="165599"/>
                      <a:pt x="69997" y="209224"/>
                    </a:cubicBezTo>
                    <a:cubicBezTo>
                      <a:pt x="32277" y="421917"/>
                      <a:pt x="-21062" y="407629"/>
                      <a:pt x="8656" y="475257"/>
                    </a:cubicBezTo>
                    <a:cubicBezTo>
                      <a:pt x="38374" y="542885"/>
                      <a:pt x="147149" y="507833"/>
                      <a:pt x="156198" y="389818"/>
                    </a:cubicBezTo>
                    <a:cubicBezTo>
                      <a:pt x="165247" y="271803"/>
                      <a:pt x="414706" y="327048"/>
                      <a:pt x="514719" y="197222"/>
                    </a:cubicBezTo>
                    <a:cubicBezTo>
                      <a:pt x="531673" y="327524"/>
                      <a:pt x="618636" y="461160"/>
                      <a:pt x="685978" y="373625"/>
                    </a:cubicBezTo>
                    <a:cubicBezTo>
                      <a:pt x="702742" y="351908"/>
                      <a:pt x="705695" y="312380"/>
                      <a:pt x="697598" y="265898"/>
                    </a:cubicBez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15" name="ísļïḓè"/>
              <p:cNvSpPr/>
              <p:nvPr/>
            </p:nvSpPr>
            <p:spPr>
              <a:xfrm>
                <a:off x="8199898" y="3265641"/>
                <a:ext cx="297275" cy="118134"/>
              </a:xfrm>
              <a:custGeom>
                <a:avLst/>
                <a:gdLst>
                  <a:gd name="connsiteX0" fmla="*/ 0 w 297275"/>
                  <a:gd name="connsiteY0" fmla="*/ 5168 h 118134"/>
                  <a:gd name="connsiteX1" fmla="*/ 297275 w 297275"/>
                  <a:gd name="connsiteY1" fmla="*/ 118134 h 1181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97275" h="118134">
                    <a:moveTo>
                      <a:pt x="0" y="5168"/>
                    </a:moveTo>
                    <a:cubicBezTo>
                      <a:pt x="0" y="5168"/>
                      <a:pt x="175356" y="-36742"/>
                      <a:pt x="297275" y="118134"/>
                    </a:cubicBezTo>
                  </a:path>
                </a:pathLst>
              </a:custGeom>
              <a:noFill/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16" name="图形 278"/>
              <p:cNvGrpSpPr/>
              <p:nvPr/>
            </p:nvGrpSpPr>
            <p:grpSpPr>
              <a:xfrm>
                <a:off x="7880049" y="3167949"/>
                <a:ext cx="567689" cy="327363"/>
                <a:chOff x="7880049" y="3167949"/>
                <a:chExt cx="567689" cy="327363"/>
              </a:xfrm>
              <a:solidFill>
                <a:schemeClr val="accent1"/>
              </a:solidFill>
            </p:grpSpPr>
            <p:sp>
              <p:nvSpPr>
                <p:cNvPr id="117" name="íşlíḋe"/>
                <p:cNvSpPr/>
                <p:nvPr/>
              </p:nvSpPr>
              <p:spPr>
                <a:xfrm>
                  <a:off x="7880049" y="3167949"/>
                  <a:ext cx="567689" cy="327363"/>
                </a:xfrm>
                <a:custGeom>
                  <a:avLst/>
                  <a:gdLst>
                    <a:gd name="connsiteX0" fmla="*/ 510349 w 567689"/>
                    <a:gd name="connsiteY0" fmla="*/ 276881 h 327363"/>
                    <a:gd name="connsiteX1" fmla="*/ 122396 w 567689"/>
                    <a:gd name="connsiteY1" fmla="*/ 327364 h 327363"/>
                    <a:gd name="connsiteX2" fmla="*/ 0 w 567689"/>
                    <a:gd name="connsiteY2" fmla="*/ 89620 h 327363"/>
                    <a:gd name="connsiteX3" fmla="*/ 567690 w 567689"/>
                    <a:gd name="connsiteY3" fmla="*/ 15801 h 327363"/>
                    <a:gd name="connsiteX4" fmla="*/ 510349 w 567689"/>
                    <a:gd name="connsiteY4" fmla="*/ 276881 h 32736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67689" h="327363">
                      <a:moveTo>
                        <a:pt x="510349" y="276881"/>
                      </a:moveTo>
                      <a:cubicBezTo>
                        <a:pt x="378904" y="254021"/>
                        <a:pt x="243649" y="271642"/>
                        <a:pt x="122396" y="327364"/>
                      </a:cubicBezTo>
                      <a:cubicBezTo>
                        <a:pt x="82677" y="247639"/>
                        <a:pt x="41814" y="168391"/>
                        <a:pt x="0" y="89620"/>
                      </a:cubicBezTo>
                      <a:cubicBezTo>
                        <a:pt x="176689" y="5704"/>
                        <a:pt x="375475" y="-20204"/>
                        <a:pt x="567690" y="15801"/>
                      </a:cubicBezTo>
                      <a:cubicBezTo>
                        <a:pt x="547592" y="102574"/>
                        <a:pt x="528447" y="189632"/>
                        <a:pt x="510349" y="276881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8" name="iṥľïďe"/>
                <p:cNvSpPr/>
                <p:nvPr/>
              </p:nvSpPr>
              <p:spPr>
                <a:xfrm>
                  <a:off x="8089789" y="3225184"/>
                  <a:ext cx="172021" cy="172021"/>
                </a:xfrm>
                <a:custGeom>
                  <a:avLst/>
                  <a:gdLst>
                    <a:gd name="connsiteX0" fmla="*/ 163830 w 172021"/>
                    <a:gd name="connsiteY0" fmla="*/ 43910 h 172021"/>
                    <a:gd name="connsiteX1" fmla="*/ 113443 w 172021"/>
                    <a:gd name="connsiteY1" fmla="*/ 50387 h 172021"/>
                    <a:gd name="connsiteX2" fmla="*/ 106871 w 172021"/>
                    <a:gd name="connsiteY2" fmla="*/ 0 h 172021"/>
                    <a:gd name="connsiteX3" fmla="*/ 43910 w 172021"/>
                    <a:gd name="connsiteY3" fmla="*/ 8192 h 172021"/>
                    <a:gd name="connsiteX4" fmla="*/ 50388 w 172021"/>
                    <a:gd name="connsiteY4" fmla="*/ 58579 h 172021"/>
                    <a:gd name="connsiteX5" fmla="*/ 0 w 172021"/>
                    <a:gd name="connsiteY5" fmla="*/ 65151 h 172021"/>
                    <a:gd name="connsiteX6" fmla="*/ 8191 w 172021"/>
                    <a:gd name="connsiteY6" fmla="*/ 128207 h 172021"/>
                    <a:gd name="connsiteX7" fmla="*/ 58579 w 172021"/>
                    <a:gd name="connsiteY7" fmla="*/ 121634 h 172021"/>
                    <a:gd name="connsiteX8" fmla="*/ 65151 w 172021"/>
                    <a:gd name="connsiteY8" fmla="*/ 172022 h 172021"/>
                    <a:gd name="connsiteX9" fmla="*/ 128207 w 172021"/>
                    <a:gd name="connsiteY9" fmla="*/ 163830 h 172021"/>
                    <a:gd name="connsiteX10" fmla="*/ 121634 w 172021"/>
                    <a:gd name="connsiteY10" fmla="*/ 113443 h 172021"/>
                    <a:gd name="connsiteX11" fmla="*/ 172021 w 172021"/>
                    <a:gd name="connsiteY11" fmla="*/ 106870 h 172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72021" h="172021">
                      <a:moveTo>
                        <a:pt x="163830" y="43910"/>
                      </a:moveTo>
                      <a:lnTo>
                        <a:pt x="113443" y="50387"/>
                      </a:lnTo>
                      <a:lnTo>
                        <a:pt x="106871" y="0"/>
                      </a:lnTo>
                      <a:lnTo>
                        <a:pt x="43910" y="8192"/>
                      </a:lnTo>
                      <a:lnTo>
                        <a:pt x="50388" y="58579"/>
                      </a:lnTo>
                      <a:lnTo>
                        <a:pt x="0" y="65151"/>
                      </a:lnTo>
                      <a:lnTo>
                        <a:pt x="8191" y="128207"/>
                      </a:lnTo>
                      <a:lnTo>
                        <a:pt x="58579" y="121634"/>
                      </a:lnTo>
                      <a:lnTo>
                        <a:pt x="65151" y="172022"/>
                      </a:lnTo>
                      <a:lnTo>
                        <a:pt x="128207" y="163830"/>
                      </a:lnTo>
                      <a:lnTo>
                        <a:pt x="121634" y="113443"/>
                      </a:lnTo>
                      <a:lnTo>
                        <a:pt x="172021" y="106870"/>
                      </a:lnTo>
                      <a:close/>
                    </a:path>
                  </a:pathLst>
                </a:custGeom>
                <a:solidFill>
                  <a:srgbClr val="4870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0" name="图形 278"/>
            <p:cNvGrpSpPr/>
            <p:nvPr userDrawn="1"/>
          </p:nvGrpSpPr>
          <p:grpSpPr>
            <a:xfrm>
              <a:off x="459836" y="798863"/>
              <a:ext cx="2528554" cy="4072982"/>
              <a:chOff x="509621" y="3282858"/>
              <a:chExt cx="1979128" cy="3187970"/>
            </a:xfrm>
            <a:solidFill>
              <a:schemeClr val="accent1"/>
            </a:solidFill>
          </p:grpSpPr>
          <p:sp>
            <p:nvSpPr>
              <p:cNvPr id="63" name="iṧļíḓé"/>
              <p:cNvSpPr/>
              <p:nvPr/>
            </p:nvSpPr>
            <p:spPr>
              <a:xfrm>
                <a:off x="509621" y="3364505"/>
                <a:ext cx="1553606" cy="1407532"/>
              </a:xfrm>
              <a:custGeom>
                <a:avLst/>
                <a:gdLst>
                  <a:gd name="connsiteX0" fmla="*/ 1482168 w 1553606"/>
                  <a:gd name="connsiteY0" fmla="*/ 259872 h 1407532"/>
                  <a:gd name="connsiteX1" fmla="*/ 872854 w 1553606"/>
                  <a:gd name="connsiteY1" fmla="*/ 96423 h 1407532"/>
                  <a:gd name="connsiteX2" fmla="*/ 774175 w 1553606"/>
                  <a:gd name="connsiteY2" fmla="*/ 252442 h 1407532"/>
                  <a:gd name="connsiteX3" fmla="*/ 318785 w 1553606"/>
                  <a:gd name="connsiteY3" fmla="*/ 626013 h 1407532"/>
                  <a:gd name="connsiteX4" fmla="*/ 56466 w 1553606"/>
                  <a:gd name="connsiteY4" fmla="*/ 1024729 h 1407532"/>
                  <a:gd name="connsiteX5" fmla="*/ 644730 w 1553606"/>
                  <a:gd name="connsiteY5" fmla="*/ 1385346 h 1407532"/>
                  <a:gd name="connsiteX6" fmla="*/ 1553606 w 1553606"/>
                  <a:gd name="connsiteY6" fmla="*/ 693259 h 1407532"/>
                  <a:gd name="connsiteX7" fmla="*/ 1482168 w 1553606"/>
                  <a:gd name="connsiteY7" fmla="*/ 259872 h 14075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53606" h="1407532">
                    <a:moveTo>
                      <a:pt x="1482168" y="259872"/>
                    </a:moveTo>
                    <a:cubicBezTo>
                      <a:pt x="1394919" y="4411"/>
                      <a:pt x="1070879" y="-87029"/>
                      <a:pt x="872854" y="96423"/>
                    </a:cubicBezTo>
                    <a:cubicBezTo>
                      <a:pt x="829801" y="136332"/>
                      <a:pt x="793796" y="187291"/>
                      <a:pt x="774175" y="252442"/>
                    </a:cubicBezTo>
                    <a:cubicBezTo>
                      <a:pt x="695879" y="512856"/>
                      <a:pt x="384412" y="345692"/>
                      <a:pt x="318785" y="626013"/>
                    </a:cubicBezTo>
                    <a:cubicBezTo>
                      <a:pt x="253253" y="906333"/>
                      <a:pt x="185816" y="935480"/>
                      <a:pt x="56466" y="1024729"/>
                    </a:cubicBezTo>
                    <a:cubicBezTo>
                      <a:pt x="-72883" y="1113979"/>
                      <a:pt x="-20020" y="1503741"/>
                      <a:pt x="644730" y="1385346"/>
                    </a:cubicBezTo>
                    <a:cubicBezTo>
                      <a:pt x="1309575" y="1266950"/>
                      <a:pt x="1553606" y="926336"/>
                      <a:pt x="1553606" y="693259"/>
                    </a:cubicBezTo>
                    <a:cubicBezTo>
                      <a:pt x="1553796" y="581436"/>
                      <a:pt x="1533318" y="409414"/>
                      <a:pt x="1482168" y="259872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4" name="íṣļïďê"/>
              <p:cNvSpPr/>
              <p:nvPr/>
            </p:nvSpPr>
            <p:spPr>
              <a:xfrm>
                <a:off x="1122538" y="6380912"/>
                <a:ext cx="977645" cy="89916"/>
              </a:xfrm>
              <a:custGeom>
                <a:avLst/>
                <a:gdLst>
                  <a:gd name="connsiteX0" fmla="*/ 0 w 977645"/>
                  <a:gd name="connsiteY0" fmla="*/ 0 h 89916"/>
                  <a:gd name="connsiteX1" fmla="*/ 0 w 977645"/>
                  <a:gd name="connsiteY1" fmla="*/ 89916 h 89916"/>
                  <a:gd name="connsiteX2" fmla="*/ 977646 w 977645"/>
                  <a:gd name="connsiteY2" fmla="*/ 89916 h 89916"/>
                  <a:gd name="connsiteX3" fmla="*/ 976789 w 977645"/>
                  <a:gd name="connsiteY3" fmla="*/ 0 h 899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77645" h="89916">
                    <a:moveTo>
                      <a:pt x="0" y="0"/>
                    </a:moveTo>
                    <a:lnTo>
                      <a:pt x="0" y="89916"/>
                    </a:lnTo>
                    <a:lnTo>
                      <a:pt x="977646" y="89916"/>
                    </a:lnTo>
                    <a:lnTo>
                      <a:pt x="976789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5" name="îŝļiḓê"/>
              <p:cNvSpPr/>
              <p:nvPr/>
            </p:nvSpPr>
            <p:spPr>
              <a:xfrm>
                <a:off x="940134" y="4253367"/>
                <a:ext cx="678275" cy="877674"/>
              </a:xfrm>
              <a:custGeom>
                <a:avLst/>
                <a:gdLst>
                  <a:gd name="connsiteX0" fmla="*/ 0 w 678275"/>
                  <a:gd name="connsiteY0" fmla="*/ 763565 h 877674"/>
                  <a:gd name="connsiteX1" fmla="*/ 590169 w 678275"/>
                  <a:gd name="connsiteY1" fmla="*/ 877674 h 877674"/>
                  <a:gd name="connsiteX2" fmla="*/ 678275 w 678275"/>
                  <a:gd name="connsiteY2" fmla="*/ 993 h 877674"/>
                  <a:gd name="connsiteX3" fmla="*/ 0 w 678275"/>
                  <a:gd name="connsiteY3" fmla="*/ 763565 h 877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78275" h="877674">
                    <a:moveTo>
                      <a:pt x="0" y="763565"/>
                    </a:moveTo>
                    <a:cubicBezTo>
                      <a:pt x="195644" y="801379"/>
                      <a:pt x="360902" y="833383"/>
                      <a:pt x="590169" y="877674"/>
                    </a:cubicBezTo>
                    <a:lnTo>
                      <a:pt x="678275" y="993"/>
                    </a:lnTo>
                    <a:cubicBezTo>
                      <a:pt x="678275" y="993"/>
                      <a:pt x="55054" y="-59491"/>
                      <a:pt x="0" y="763565"/>
                    </a:cubicBezTo>
                    <a:close/>
                  </a:path>
                </a:pathLst>
              </a:custGeom>
              <a:solidFill>
                <a:srgbClr val="56C7A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6" name="išľïďê"/>
              <p:cNvSpPr/>
              <p:nvPr/>
            </p:nvSpPr>
            <p:spPr>
              <a:xfrm>
                <a:off x="1104155" y="4245978"/>
                <a:ext cx="1009459" cy="2176938"/>
              </a:xfrm>
              <a:custGeom>
                <a:avLst/>
                <a:gdLst>
                  <a:gd name="connsiteX0" fmla="*/ 1009460 w 1009459"/>
                  <a:gd name="connsiteY0" fmla="*/ 742283 h 2176938"/>
                  <a:gd name="connsiteX1" fmla="*/ 645604 w 1009459"/>
                  <a:gd name="connsiteY1" fmla="*/ 0 h 2176938"/>
                  <a:gd name="connsiteX2" fmla="*/ 78772 w 1009459"/>
                  <a:gd name="connsiteY2" fmla="*/ 503587 h 2176938"/>
                  <a:gd name="connsiteX3" fmla="*/ 0 w 1009459"/>
                  <a:gd name="connsiteY3" fmla="*/ 2176939 h 2176938"/>
                  <a:gd name="connsiteX4" fmla="*/ 1009364 w 1009459"/>
                  <a:gd name="connsiteY4" fmla="*/ 2176939 h 2176938"/>
                  <a:gd name="connsiteX5" fmla="*/ 1009364 w 1009459"/>
                  <a:gd name="connsiteY5" fmla="*/ 742283 h 2176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9459" h="2176938">
                    <a:moveTo>
                      <a:pt x="1009460" y="742283"/>
                    </a:moveTo>
                    <a:cubicBezTo>
                      <a:pt x="1009460" y="335089"/>
                      <a:pt x="934307" y="0"/>
                      <a:pt x="645604" y="0"/>
                    </a:cubicBezTo>
                    <a:cubicBezTo>
                      <a:pt x="356902" y="0"/>
                      <a:pt x="78772" y="107442"/>
                      <a:pt x="78772" y="503587"/>
                    </a:cubicBezTo>
                    <a:cubicBezTo>
                      <a:pt x="78772" y="899731"/>
                      <a:pt x="0" y="2176939"/>
                      <a:pt x="0" y="2176939"/>
                    </a:cubicBezTo>
                    <a:lnTo>
                      <a:pt x="1009364" y="2176939"/>
                    </a:lnTo>
                    <a:lnTo>
                      <a:pt x="1009364" y="742283"/>
                    </a:lnTo>
                    <a:close/>
                  </a:path>
                </a:pathLst>
              </a:custGeom>
              <a:solidFill>
                <a:srgbClr val="56C7A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67" name="图形 278"/>
              <p:cNvGrpSpPr/>
              <p:nvPr/>
            </p:nvGrpSpPr>
            <p:grpSpPr>
              <a:xfrm>
                <a:off x="1454198" y="4205497"/>
                <a:ext cx="444341" cy="867346"/>
                <a:chOff x="1454198" y="4205497"/>
                <a:chExt cx="444341" cy="867346"/>
              </a:xfrm>
              <a:solidFill>
                <a:schemeClr val="accent1"/>
              </a:solidFill>
            </p:grpSpPr>
            <p:sp>
              <p:nvSpPr>
                <p:cNvPr id="102" name="îšḻîḋè"/>
                <p:cNvSpPr/>
                <p:nvPr/>
              </p:nvSpPr>
              <p:spPr>
                <a:xfrm>
                  <a:off x="1454198" y="4205497"/>
                  <a:ext cx="444341" cy="699134"/>
                </a:xfrm>
                <a:custGeom>
                  <a:avLst/>
                  <a:gdLst>
                    <a:gd name="connsiteX0" fmla="*/ 220980 w 444341"/>
                    <a:gd name="connsiteY0" fmla="*/ 0 h 699134"/>
                    <a:gd name="connsiteX1" fmla="*/ 220980 w 444341"/>
                    <a:gd name="connsiteY1" fmla="*/ 0 h 699134"/>
                    <a:gd name="connsiteX2" fmla="*/ 0 w 444341"/>
                    <a:gd name="connsiteY2" fmla="*/ 201549 h 699134"/>
                    <a:gd name="connsiteX3" fmla="*/ 223361 w 444341"/>
                    <a:gd name="connsiteY3" fmla="*/ 699135 h 699134"/>
                    <a:gd name="connsiteX4" fmla="*/ 444341 w 444341"/>
                    <a:gd name="connsiteY4" fmla="*/ 201549 h 699134"/>
                    <a:gd name="connsiteX5" fmla="*/ 220980 w 444341"/>
                    <a:gd name="connsiteY5" fmla="*/ 0 h 6991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341" h="699134">
                      <a:moveTo>
                        <a:pt x="220980" y="0"/>
                      </a:moveTo>
                      <a:lnTo>
                        <a:pt x="220980" y="0"/>
                      </a:lnTo>
                      <a:cubicBezTo>
                        <a:pt x="197739" y="952"/>
                        <a:pt x="0" y="14383"/>
                        <a:pt x="0" y="201549"/>
                      </a:cubicBezTo>
                      <a:cubicBezTo>
                        <a:pt x="0" y="388430"/>
                        <a:pt x="199739" y="671798"/>
                        <a:pt x="223361" y="699135"/>
                      </a:cubicBezTo>
                      <a:cubicBezTo>
                        <a:pt x="247078" y="671893"/>
                        <a:pt x="444341" y="388525"/>
                        <a:pt x="444341" y="201549"/>
                      </a:cubicBezTo>
                      <a:cubicBezTo>
                        <a:pt x="444341" y="14383"/>
                        <a:pt x="244221" y="952"/>
                        <a:pt x="220980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ïSḷiḋè"/>
                <p:cNvSpPr/>
                <p:nvPr/>
              </p:nvSpPr>
              <p:spPr>
                <a:xfrm>
                  <a:off x="1552687" y="4924825"/>
                  <a:ext cx="247364" cy="148018"/>
                </a:xfrm>
                <a:custGeom>
                  <a:avLst/>
                  <a:gdLst>
                    <a:gd name="connsiteX0" fmla="*/ 0 w 247364"/>
                    <a:gd name="connsiteY0" fmla="*/ 0 h 148018"/>
                    <a:gd name="connsiteX1" fmla="*/ 247364 w 247364"/>
                    <a:gd name="connsiteY1" fmla="*/ 0 h 148018"/>
                    <a:gd name="connsiteX2" fmla="*/ 247364 w 247364"/>
                    <a:gd name="connsiteY2" fmla="*/ 148018 h 148018"/>
                    <a:gd name="connsiteX3" fmla="*/ 0 w 247364"/>
                    <a:gd name="connsiteY3" fmla="*/ 148018 h 1480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4" h="148018">
                      <a:moveTo>
                        <a:pt x="0" y="0"/>
                      </a:moveTo>
                      <a:lnTo>
                        <a:pt x="247364" y="0"/>
                      </a:lnTo>
                      <a:lnTo>
                        <a:pt x="247364" y="148018"/>
                      </a:lnTo>
                      <a:lnTo>
                        <a:pt x="0" y="148018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4" name="ïşliḑe"/>
                <p:cNvSpPr/>
                <p:nvPr/>
              </p:nvSpPr>
              <p:spPr>
                <a:xfrm>
                  <a:off x="1677560" y="4904632"/>
                  <a:ext cx="9525" cy="40481"/>
                </a:xfrm>
                <a:custGeom>
                  <a:avLst/>
                  <a:gdLst>
                    <a:gd name="connsiteX0" fmla="*/ 0 w 9525"/>
                    <a:gd name="connsiteY0" fmla="*/ 0 h 40481"/>
                    <a:gd name="connsiteX1" fmla="*/ 0 w 9525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40481">
                      <a:moveTo>
                        <a:pt x="0" y="0"/>
                      </a:moveTo>
                      <a:lnTo>
                        <a:pt x="0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ïś1íḑé"/>
                <p:cNvSpPr/>
                <p:nvPr/>
              </p:nvSpPr>
              <p:spPr>
                <a:xfrm>
                  <a:off x="1580119" y="4964068"/>
                  <a:ext cx="56197" cy="56197"/>
                </a:xfrm>
                <a:custGeom>
                  <a:avLst/>
                  <a:gdLst>
                    <a:gd name="connsiteX0" fmla="*/ 0 w 56197"/>
                    <a:gd name="connsiteY0" fmla="*/ 0 h 56197"/>
                    <a:gd name="connsiteX1" fmla="*/ 56198 w 56197"/>
                    <a:gd name="connsiteY1" fmla="*/ 0 h 56197"/>
                    <a:gd name="connsiteX2" fmla="*/ 56198 w 56197"/>
                    <a:gd name="connsiteY2" fmla="*/ 56197 h 56197"/>
                    <a:gd name="connsiteX3" fmla="*/ 0 w 56197"/>
                    <a:gd name="connsiteY3" fmla="*/ 56197 h 561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56197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56197"/>
                      </a:lnTo>
                      <a:lnTo>
                        <a:pt x="0" y="56197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6" name="îşḷîḓe"/>
                <p:cNvSpPr/>
                <p:nvPr/>
              </p:nvSpPr>
              <p:spPr>
                <a:xfrm>
                  <a:off x="1664891" y="4964068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7" name="îṡḷîďê"/>
                <p:cNvSpPr/>
                <p:nvPr/>
              </p:nvSpPr>
              <p:spPr>
                <a:xfrm>
                  <a:off x="1664891" y="4987500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8" name="îŝľiḋê"/>
                <p:cNvSpPr/>
                <p:nvPr/>
              </p:nvSpPr>
              <p:spPr>
                <a:xfrm>
                  <a:off x="1664891" y="5011026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9" name="iṥľiḍê"/>
                <p:cNvSpPr/>
                <p:nvPr/>
              </p:nvSpPr>
              <p:spPr>
                <a:xfrm>
                  <a:off x="1664891" y="5034553"/>
                  <a:ext cx="116395" cy="9144"/>
                </a:xfrm>
                <a:custGeom>
                  <a:avLst/>
                  <a:gdLst>
                    <a:gd name="connsiteX0" fmla="*/ 0 w 116395"/>
                    <a:gd name="connsiteY0" fmla="*/ 0 h 9144"/>
                    <a:gd name="connsiteX1" fmla="*/ 116395 w 116395"/>
                    <a:gd name="connsiteY1" fmla="*/ 0 h 9144"/>
                    <a:gd name="connsiteX2" fmla="*/ 116395 w 116395"/>
                    <a:gd name="connsiteY2" fmla="*/ 9144 h 9144"/>
                    <a:gd name="connsiteX3" fmla="*/ 0 w 116395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5" h="9144">
                      <a:moveTo>
                        <a:pt x="0" y="0"/>
                      </a:moveTo>
                      <a:lnTo>
                        <a:pt x="116395" y="0"/>
                      </a:lnTo>
                      <a:lnTo>
                        <a:pt x="116395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10" name="îsľíďé"/>
                <p:cNvSpPr/>
                <p:nvPr/>
              </p:nvSpPr>
              <p:spPr>
                <a:xfrm>
                  <a:off x="1580119" y="5034553"/>
                  <a:ext cx="56197" cy="9144"/>
                </a:xfrm>
                <a:custGeom>
                  <a:avLst/>
                  <a:gdLst>
                    <a:gd name="connsiteX0" fmla="*/ 0 w 56197"/>
                    <a:gd name="connsiteY0" fmla="*/ 0 h 9144"/>
                    <a:gd name="connsiteX1" fmla="*/ 56198 w 56197"/>
                    <a:gd name="connsiteY1" fmla="*/ 0 h 9144"/>
                    <a:gd name="connsiteX2" fmla="*/ 56198 w 56197"/>
                    <a:gd name="connsiteY2" fmla="*/ 9144 h 9144"/>
                    <a:gd name="connsiteX3" fmla="*/ 0 w 56197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7" h="9144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68" name="ï$líde"/>
              <p:cNvSpPr/>
              <p:nvPr/>
            </p:nvSpPr>
            <p:spPr>
              <a:xfrm>
                <a:off x="1626334" y="4794332"/>
                <a:ext cx="851496" cy="914304"/>
              </a:xfrm>
              <a:custGeom>
                <a:avLst/>
                <a:gdLst>
                  <a:gd name="connsiteX0" fmla="*/ 610629 w 851496"/>
                  <a:gd name="connsiteY0" fmla="*/ 914305 h 914304"/>
                  <a:gd name="connsiteX1" fmla="*/ 71704 w 851496"/>
                  <a:gd name="connsiteY1" fmla="*/ 914305 h 914304"/>
                  <a:gd name="connsiteX2" fmla="*/ 1695 w 851496"/>
                  <a:gd name="connsiteY2" fmla="*/ 827246 h 914304"/>
                  <a:gd name="connsiteX3" fmla="*/ 170860 w 851496"/>
                  <a:gd name="connsiteY3" fmla="*/ 56293 h 914304"/>
                  <a:gd name="connsiteX4" fmla="*/ 240868 w 851496"/>
                  <a:gd name="connsiteY4" fmla="*/ 0 h 914304"/>
                  <a:gd name="connsiteX5" fmla="*/ 779793 w 851496"/>
                  <a:gd name="connsiteY5" fmla="*/ 0 h 914304"/>
                  <a:gd name="connsiteX6" fmla="*/ 849802 w 851496"/>
                  <a:gd name="connsiteY6" fmla="*/ 87058 h 914304"/>
                  <a:gd name="connsiteX7" fmla="*/ 680637 w 851496"/>
                  <a:gd name="connsiteY7" fmla="*/ 858012 h 914304"/>
                  <a:gd name="connsiteX8" fmla="*/ 610629 w 851496"/>
                  <a:gd name="connsiteY8" fmla="*/ 914305 h 914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51496" h="914304">
                    <a:moveTo>
                      <a:pt x="610629" y="914305"/>
                    </a:moveTo>
                    <a:lnTo>
                      <a:pt x="71704" y="914305"/>
                    </a:lnTo>
                    <a:cubicBezTo>
                      <a:pt x="25889" y="914305"/>
                      <a:pt x="-8115" y="871918"/>
                      <a:pt x="1695" y="827246"/>
                    </a:cubicBezTo>
                    <a:lnTo>
                      <a:pt x="170860" y="56293"/>
                    </a:lnTo>
                    <a:cubicBezTo>
                      <a:pt x="178098" y="23432"/>
                      <a:pt x="207245" y="0"/>
                      <a:pt x="240868" y="0"/>
                    </a:cubicBezTo>
                    <a:lnTo>
                      <a:pt x="779793" y="0"/>
                    </a:lnTo>
                    <a:cubicBezTo>
                      <a:pt x="825608" y="0"/>
                      <a:pt x="859612" y="42386"/>
                      <a:pt x="849802" y="87058"/>
                    </a:cubicBezTo>
                    <a:lnTo>
                      <a:pt x="680637" y="858012"/>
                    </a:lnTo>
                    <a:cubicBezTo>
                      <a:pt x="673494" y="890873"/>
                      <a:pt x="644347" y="914305"/>
                      <a:pt x="610629" y="914305"/>
                    </a:cubicBez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9" name="î$lîḑê"/>
              <p:cNvSpPr/>
              <p:nvPr/>
            </p:nvSpPr>
            <p:spPr>
              <a:xfrm>
                <a:off x="940253" y="5021980"/>
                <a:ext cx="896850" cy="587025"/>
              </a:xfrm>
              <a:custGeom>
                <a:avLst/>
                <a:gdLst>
                  <a:gd name="connsiteX0" fmla="*/ 319445 w 896850"/>
                  <a:gd name="connsiteY0" fmla="*/ 298323 h 587025"/>
                  <a:gd name="connsiteX1" fmla="*/ 393359 w 896850"/>
                  <a:gd name="connsiteY1" fmla="*/ 71056 h 587025"/>
                  <a:gd name="connsiteX2" fmla="*/ 25789 w 896850"/>
                  <a:gd name="connsiteY2" fmla="*/ 0 h 587025"/>
                  <a:gd name="connsiteX3" fmla="*/ 178475 w 896850"/>
                  <a:gd name="connsiteY3" fmla="*/ 587026 h 587025"/>
                  <a:gd name="connsiteX4" fmla="*/ 896850 w 896850"/>
                  <a:gd name="connsiteY4" fmla="*/ 540067 h 587025"/>
                  <a:gd name="connsiteX5" fmla="*/ 896850 w 896850"/>
                  <a:gd name="connsiteY5" fmla="*/ 358807 h 587025"/>
                  <a:gd name="connsiteX6" fmla="*/ 319445 w 896850"/>
                  <a:gd name="connsiteY6" fmla="*/ 298323 h 587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96850" h="587025">
                    <a:moveTo>
                      <a:pt x="319445" y="298323"/>
                    </a:moveTo>
                    <a:cubicBezTo>
                      <a:pt x="319445" y="298323"/>
                      <a:pt x="350306" y="207359"/>
                      <a:pt x="393359" y="71056"/>
                    </a:cubicBezTo>
                    <a:lnTo>
                      <a:pt x="25789" y="0"/>
                    </a:lnTo>
                    <a:cubicBezTo>
                      <a:pt x="-35647" y="473012"/>
                      <a:pt x="11692" y="587026"/>
                      <a:pt x="178475" y="587026"/>
                    </a:cubicBezTo>
                    <a:cubicBezTo>
                      <a:pt x="359735" y="587026"/>
                      <a:pt x="896850" y="540067"/>
                      <a:pt x="896850" y="540067"/>
                    </a:cubicBezTo>
                    <a:lnTo>
                      <a:pt x="896850" y="358807"/>
                    </a:lnTo>
                    <a:lnTo>
                      <a:pt x="319445" y="298323"/>
                    </a:ln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0" name="图形 278"/>
              <p:cNvGrpSpPr/>
              <p:nvPr/>
            </p:nvGrpSpPr>
            <p:grpSpPr>
              <a:xfrm>
                <a:off x="1361520" y="3449879"/>
                <a:ext cx="560532" cy="962691"/>
                <a:chOff x="1361520" y="3449879"/>
                <a:chExt cx="560532" cy="962691"/>
              </a:xfrm>
              <a:solidFill>
                <a:schemeClr val="accent1"/>
              </a:solidFill>
            </p:grpSpPr>
            <p:sp>
              <p:nvSpPr>
                <p:cNvPr id="87" name="í$1íḋê"/>
                <p:cNvSpPr/>
                <p:nvPr/>
              </p:nvSpPr>
              <p:spPr>
                <a:xfrm>
                  <a:off x="1530303" y="4020617"/>
                  <a:ext cx="288702" cy="391953"/>
                </a:xfrm>
                <a:custGeom>
                  <a:avLst/>
                  <a:gdLst>
                    <a:gd name="connsiteX0" fmla="*/ 144304 w 288702"/>
                    <a:gd name="connsiteY0" fmla="*/ 391954 h 391953"/>
                    <a:gd name="connsiteX1" fmla="*/ 144304 w 288702"/>
                    <a:gd name="connsiteY1" fmla="*/ 391954 h 391953"/>
                    <a:gd name="connsiteX2" fmla="*/ 0 w 288702"/>
                    <a:gd name="connsiteY2" fmla="*/ 247650 h 391953"/>
                    <a:gd name="connsiteX3" fmla="*/ 0 w 288702"/>
                    <a:gd name="connsiteY3" fmla="*/ 0 h 391953"/>
                    <a:gd name="connsiteX4" fmla="*/ 288703 w 288702"/>
                    <a:gd name="connsiteY4" fmla="*/ 0 h 391953"/>
                    <a:gd name="connsiteX5" fmla="*/ 288703 w 288702"/>
                    <a:gd name="connsiteY5" fmla="*/ 247650 h 391953"/>
                    <a:gd name="connsiteX6" fmla="*/ 144304 w 288702"/>
                    <a:gd name="connsiteY6" fmla="*/ 391954 h 3919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8702" h="391953">
                      <a:moveTo>
                        <a:pt x="144304" y="391954"/>
                      </a:moveTo>
                      <a:lnTo>
                        <a:pt x="144304" y="391954"/>
                      </a:lnTo>
                      <a:cubicBezTo>
                        <a:pt x="64579" y="391954"/>
                        <a:pt x="0" y="327374"/>
                        <a:pt x="0" y="247650"/>
                      </a:cubicBezTo>
                      <a:lnTo>
                        <a:pt x="0" y="0"/>
                      </a:lnTo>
                      <a:lnTo>
                        <a:pt x="288703" y="0"/>
                      </a:lnTo>
                      <a:lnTo>
                        <a:pt x="288703" y="247650"/>
                      </a:lnTo>
                      <a:cubicBezTo>
                        <a:pt x="288703" y="327279"/>
                        <a:pt x="224028" y="391954"/>
                        <a:pt x="144304" y="391954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8" name="îṧ1ide"/>
                <p:cNvSpPr/>
                <p:nvPr/>
              </p:nvSpPr>
              <p:spPr>
                <a:xfrm>
                  <a:off x="1431338" y="3449879"/>
                  <a:ext cx="490061" cy="663511"/>
                </a:xfrm>
                <a:custGeom>
                  <a:avLst/>
                  <a:gdLst>
                    <a:gd name="connsiteX0" fmla="*/ 490061 w 490061"/>
                    <a:gd name="connsiteY0" fmla="*/ 376523 h 663511"/>
                    <a:gd name="connsiteX1" fmla="*/ 268510 w 490061"/>
                    <a:gd name="connsiteY1" fmla="*/ 663511 h 663511"/>
                    <a:gd name="connsiteX2" fmla="*/ 0 w 490061"/>
                    <a:gd name="connsiteY2" fmla="*/ 376523 h 663511"/>
                    <a:gd name="connsiteX3" fmla="*/ 245078 w 490061"/>
                    <a:gd name="connsiteY3" fmla="*/ 0 h 663511"/>
                    <a:gd name="connsiteX4" fmla="*/ 490061 w 490061"/>
                    <a:gd name="connsiteY4" fmla="*/ 376523 h 66351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061" h="663511">
                      <a:moveTo>
                        <a:pt x="490061" y="376523"/>
                      </a:moveTo>
                      <a:cubicBezTo>
                        <a:pt x="490061" y="560070"/>
                        <a:pt x="403765" y="663511"/>
                        <a:pt x="268510" y="663511"/>
                      </a:cubicBezTo>
                      <a:cubicBezTo>
                        <a:pt x="133160" y="663511"/>
                        <a:pt x="0" y="560070"/>
                        <a:pt x="0" y="376523"/>
                      </a:cubicBezTo>
                      <a:cubicBezTo>
                        <a:pt x="0" y="192976"/>
                        <a:pt x="0" y="0"/>
                        <a:pt x="245078" y="0"/>
                      </a:cubicBezTo>
                      <a:cubicBezTo>
                        <a:pt x="490061" y="0"/>
                        <a:pt x="490061" y="192976"/>
                        <a:pt x="490061" y="376523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iṩļïďé"/>
                <p:cNvSpPr/>
                <p:nvPr/>
              </p:nvSpPr>
              <p:spPr>
                <a:xfrm>
                  <a:off x="1361520" y="3743765"/>
                  <a:ext cx="95154" cy="171505"/>
                </a:xfrm>
                <a:custGeom>
                  <a:avLst/>
                  <a:gdLst>
                    <a:gd name="connsiteX0" fmla="*/ 0 w 95154"/>
                    <a:gd name="connsiteY0" fmla="*/ 67778 h 171505"/>
                    <a:gd name="connsiteX1" fmla="*/ 95155 w 95154"/>
                    <a:gd name="connsiteY1" fmla="*/ 171505 h 171505"/>
                    <a:gd name="connsiteX2" fmla="*/ 95155 w 95154"/>
                    <a:gd name="connsiteY2" fmla="*/ 5484 h 171505"/>
                    <a:gd name="connsiteX3" fmla="*/ 0 w 95154"/>
                    <a:gd name="connsiteY3" fmla="*/ 67778 h 1715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154" h="171505">
                      <a:moveTo>
                        <a:pt x="0" y="67778"/>
                      </a:moveTo>
                      <a:cubicBezTo>
                        <a:pt x="0" y="162933"/>
                        <a:pt x="95155" y="171505"/>
                        <a:pt x="95155" y="171505"/>
                      </a:cubicBezTo>
                      <a:lnTo>
                        <a:pt x="95155" y="5484"/>
                      </a:lnTo>
                      <a:cubicBezTo>
                        <a:pt x="95155" y="5484"/>
                        <a:pt x="0" y="-27377"/>
                        <a:pt x="0" y="6777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0" name="îśľiďé"/>
                <p:cNvSpPr/>
                <p:nvPr/>
              </p:nvSpPr>
              <p:spPr>
                <a:xfrm>
                  <a:off x="1393524" y="3783369"/>
                  <a:ext cx="45815" cy="92276"/>
                </a:xfrm>
                <a:custGeom>
                  <a:avLst/>
                  <a:gdLst>
                    <a:gd name="connsiteX0" fmla="*/ 0 w 45815"/>
                    <a:gd name="connsiteY0" fmla="*/ 36460 h 92276"/>
                    <a:gd name="connsiteX1" fmla="*/ 45815 w 45815"/>
                    <a:gd name="connsiteY1" fmla="*/ 92277 h 92276"/>
                    <a:gd name="connsiteX2" fmla="*/ 45815 w 45815"/>
                    <a:gd name="connsiteY2" fmla="*/ 2932 h 92276"/>
                    <a:gd name="connsiteX3" fmla="*/ 0 w 45815"/>
                    <a:gd name="connsiteY3" fmla="*/ 36460 h 922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815" h="92276">
                      <a:moveTo>
                        <a:pt x="0" y="36460"/>
                      </a:moveTo>
                      <a:cubicBezTo>
                        <a:pt x="0" y="87610"/>
                        <a:pt x="45815" y="92277"/>
                        <a:pt x="45815" y="92277"/>
                      </a:cubicBezTo>
                      <a:lnTo>
                        <a:pt x="45815" y="2932"/>
                      </a:lnTo>
                      <a:cubicBezTo>
                        <a:pt x="45815" y="2932"/>
                        <a:pt x="0" y="-14689"/>
                        <a:pt x="0" y="3646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îṩḷíḑê"/>
                <p:cNvSpPr/>
                <p:nvPr/>
              </p:nvSpPr>
              <p:spPr>
                <a:xfrm>
                  <a:off x="1551353" y="3741820"/>
                  <a:ext cx="66484" cy="49529"/>
                </a:xfrm>
                <a:custGeom>
                  <a:avLst/>
                  <a:gdLst>
                    <a:gd name="connsiteX0" fmla="*/ 0 w 66484"/>
                    <a:gd name="connsiteY0" fmla="*/ 24765 h 49529"/>
                    <a:gd name="connsiteX1" fmla="*/ 33242 w 66484"/>
                    <a:gd name="connsiteY1" fmla="*/ 49530 h 49529"/>
                    <a:gd name="connsiteX2" fmla="*/ 66485 w 66484"/>
                    <a:gd name="connsiteY2" fmla="*/ 24765 h 49529"/>
                    <a:gd name="connsiteX3" fmla="*/ 33242 w 66484"/>
                    <a:gd name="connsiteY3" fmla="*/ 0 h 49529"/>
                    <a:gd name="connsiteX4" fmla="*/ 0 w 66484"/>
                    <a:gd name="connsiteY4" fmla="*/ 24765 h 49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29">
                      <a:moveTo>
                        <a:pt x="0" y="24765"/>
                      </a:moveTo>
                      <a:cubicBezTo>
                        <a:pt x="0" y="38481"/>
                        <a:pt x="14859" y="49530"/>
                        <a:pt x="33242" y="49530"/>
                      </a:cubicBezTo>
                      <a:cubicBezTo>
                        <a:pt x="51625" y="49530"/>
                        <a:pt x="66485" y="38481"/>
                        <a:pt x="66485" y="24765"/>
                      </a:cubicBezTo>
                      <a:cubicBezTo>
                        <a:pt x="66485" y="11049"/>
                        <a:pt x="51625" y="0"/>
                        <a:pt x="33242" y="0"/>
                      </a:cubicBezTo>
                      <a:cubicBezTo>
                        <a:pt x="14859" y="0"/>
                        <a:pt x="0" y="11049"/>
                        <a:pt x="0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2" name="îṥḻîḓe"/>
                <p:cNvSpPr/>
                <p:nvPr/>
              </p:nvSpPr>
              <p:spPr>
                <a:xfrm>
                  <a:off x="1785668" y="3741820"/>
                  <a:ext cx="66484" cy="49529"/>
                </a:xfrm>
                <a:custGeom>
                  <a:avLst/>
                  <a:gdLst>
                    <a:gd name="connsiteX0" fmla="*/ 0 w 66484"/>
                    <a:gd name="connsiteY0" fmla="*/ 24765 h 49529"/>
                    <a:gd name="connsiteX1" fmla="*/ 33242 w 66484"/>
                    <a:gd name="connsiteY1" fmla="*/ 49530 h 49529"/>
                    <a:gd name="connsiteX2" fmla="*/ 66484 w 66484"/>
                    <a:gd name="connsiteY2" fmla="*/ 24765 h 49529"/>
                    <a:gd name="connsiteX3" fmla="*/ 33242 w 66484"/>
                    <a:gd name="connsiteY3" fmla="*/ 0 h 49529"/>
                    <a:gd name="connsiteX4" fmla="*/ 0 w 66484"/>
                    <a:gd name="connsiteY4" fmla="*/ 24765 h 495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4" h="49529">
                      <a:moveTo>
                        <a:pt x="0" y="24765"/>
                      </a:moveTo>
                      <a:cubicBezTo>
                        <a:pt x="0" y="38481"/>
                        <a:pt x="14859" y="49530"/>
                        <a:pt x="33242" y="49530"/>
                      </a:cubicBezTo>
                      <a:cubicBezTo>
                        <a:pt x="51625" y="49530"/>
                        <a:pt x="66484" y="38481"/>
                        <a:pt x="66484" y="24765"/>
                      </a:cubicBezTo>
                      <a:cubicBezTo>
                        <a:pt x="66484" y="11049"/>
                        <a:pt x="51625" y="0"/>
                        <a:pt x="33242" y="0"/>
                      </a:cubicBezTo>
                      <a:cubicBezTo>
                        <a:pt x="14954" y="0"/>
                        <a:pt x="0" y="11049"/>
                        <a:pt x="0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î$ḻîḑe"/>
                <p:cNvSpPr/>
                <p:nvPr/>
              </p:nvSpPr>
              <p:spPr>
                <a:xfrm>
                  <a:off x="1568784" y="3750774"/>
                  <a:ext cx="39623" cy="39623"/>
                </a:xfrm>
                <a:custGeom>
                  <a:avLst/>
                  <a:gdLst>
                    <a:gd name="connsiteX0" fmla="*/ 39624 w 39623"/>
                    <a:gd name="connsiteY0" fmla="*/ 19812 h 39623"/>
                    <a:gd name="connsiteX1" fmla="*/ 19812 w 39623"/>
                    <a:gd name="connsiteY1" fmla="*/ 39624 h 39623"/>
                    <a:gd name="connsiteX2" fmla="*/ 0 w 39623"/>
                    <a:gd name="connsiteY2" fmla="*/ 19812 h 39623"/>
                    <a:gd name="connsiteX3" fmla="*/ 19812 w 39623"/>
                    <a:gd name="connsiteY3" fmla="*/ 0 h 39623"/>
                    <a:gd name="connsiteX4" fmla="*/ 39624 w 39623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3" h="39623">
                      <a:moveTo>
                        <a:pt x="39624" y="19812"/>
                      </a:moveTo>
                      <a:cubicBezTo>
                        <a:pt x="39624" y="30754"/>
                        <a:pt x="30754" y="39624"/>
                        <a:pt x="19812" y="39624"/>
                      </a:cubicBezTo>
                      <a:cubicBezTo>
                        <a:pt x="8870" y="39624"/>
                        <a:pt x="0" y="30754"/>
                        <a:pt x="0" y="19812"/>
                      </a:cubicBezTo>
                      <a:cubicBezTo>
                        <a:pt x="0" y="8870"/>
                        <a:pt x="8870" y="0"/>
                        <a:pt x="19812" y="0"/>
                      </a:cubicBezTo>
                      <a:cubicBezTo>
                        <a:pt x="30754" y="0"/>
                        <a:pt x="39624" y="8870"/>
                        <a:pt x="39624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4" name="îṥ1ídé"/>
                <p:cNvSpPr/>
                <p:nvPr/>
              </p:nvSpPr>
              <p:spPr>
                <a:xfrm>
                  <a:off x="1803194" y="3750774"/>
                  <a:ext cx="39624" cy="39623"/>
                </a:xfrm>
                <a:custGeom>
                  <a:avLst/>
                  <a:gdLst>
                    <a:gd name="connsiteX0" fmla="*/ 39624 w 39624"/>
                    <a:gd name="connsiteY0" fmla="*/ 19812 h 39623"/>
                    <a:gd name="connsiteX1" fmla="*/ 19812 w 39624"/>
                    <a:gd name="connsiteY1" fmla="*/ 39624 h 39623"/>
                    <a:gd name="connsiteX2" fmla="*/ 0 w 39624"/>
                    <a:gd name="connsiteY2" fmla="*/ 19812 h 39623"/>
                    <a:gd name="connsiteX3" fmla="*/ 19812 w 39624"/>
                    <a:gd name="connsiteY3" fmla="*/ 0 h 39623"/>
                    <a:gd name="connsiteX4" fmla="*/ 39624 w 39624"/>
                    <a:gd name="connsiteY4" fmla="*/ 19812 h 396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4" h="39623">
                      <a:moveTo>
                        <a:pt x="39624" y="19812"/>
                      </a:moveTo>
                      <a:cubicBezTo>
                        <a:pt x="39624" y="30754"/>
                        <a:pt x="30754" y="39624"/>
                        <a:pt x="19812" y="39624"/>
                      </a:cubicBezTo>
                      <a:cubicBezTo>
                        <a:pt x="8870" y="39624"/>
                        <a:pt x="0" y="30754"/>
                        <a:pt x="0" y="19812"/>
                      </a:cubicBezTo>
                      <a:cubicBezTo>
                        <a:pt x="0" y="8870"/>
                        <a:pt x="8870" y="0"/>
                        <a:pt x="19812" y="0"/>
                      </a:cubicBezTo>
                      <a:cubicBezTo>
                        <a:pt x="30754" y="0"/>
                        <a:pt x="39624" y="8870"/>
                        <a:pt x="39624" y="19812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îṥľîďè"/>
                <p:cNvSpPr/>
                <p:nvPr/>
              </p:nvSpPr>
              <p:spPr>
                <a:xfrm>
                  <a:off x="1699848" y="3783349"/>
                  <a:ext cx="46989" cy="131921"/>
                </a:xfrm>
                <a:custGeom>
                  <a:avLst/>
                  <a:gdLst>
                    <a:gd name="connsiteX0" fmla="*/ 0 w 46989"/>
                    <a:gd name="connsiteY0" fmla="*/ 0 h 131921"/>
                    <a:gd name="connsiteX1" fmla="*/ 0 w 46989"/>
                    <a:gd name="connsiteY1" fmla="*/ 131921 h 131921"/>
                    <a:gd name="connsiteX2" fmla="*/ 0 w 46989"/>
                    <a:gd name="connsiteY2" fmla="*/ 0 h 1319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89" h="131921">
                      <a:moveTo>
                        <a:pt x="0" y="0"/>
                      </a:moveTo>
                      <a:lnTo>
                        <a:pt x="0" y="131921"/>
                      </a:lnTo>
                      <a:cubicBezTo>
                        <a:pt x="105727" y="131921"/>
                        <a:pt x="0" y="0"/>
                        <a:pt x="0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6" name="íṡlíḓê"/>
                <p:cNvSpPr/>
                <p:nvPr/>
              </p:nvSpPr>
              <p:spPr>
                <a:xfrm>
                  <a:off x="1642793" y="3957275"/>
                  <a:ext cx="114109" cy="13123"/>
                </a:xfrm>
                <a:custGeom>
                  <a:avLst/>
                  <a:gdLst>
                    <a:gd name="connsiteX0" fmla="*/ 0 w 114109"/>
                    <a:gd name="connsiteY0" fmla="*/ 0 h 13123"/>
                    <a:gd name="connsiteX1" fmla="*/ 114109 w 114109"/>
                    <a:gd name="connsiteY1" fmla="*/ 0 h 1312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109" h="13123">
                      <a:moveTo>
                        <a:pt x="0" y="0"/>
                      </a:moveTo>
                      <a:cubicBezTo>
                        <a:pt x="0" y="0"/>
                        <a:pt x="57055" y="29527"/>
                        <a:pt x="114109" y="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iṩ1iḑé"/>
                <p:cNvSpPr/>
                <p:nvPr/>
              </p:nvSpPr>
              <p:spPr>
                <a:xfrm>
                  <a:off x="1548115" y="3716081"/>
                  <a:ext cx="72961" cy="12022"/>
                </a:xfrm>
                <a:custGeom>
                  <a:avLst/>
                  <a:gdLst>
                    <a:gd name="connsiteX0" fmla="*/ 72961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1" y="12023"/>
                      </a:moveTo>
                      <a:cubicBezTo>
                        <a:pt x="72961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8" name="iṥḷíḋé"/>
                <p:cNvSpPr/>
                <p:nvPr/>
              </p:nvSpPr>
              <p:spPr>
                <a:xfrm>
                  <a:off x="1782525" y="3716081"/>
                  <a:ext cx="72961" cy="12022"/>
                </a:xfrm>
                <a:custGeom>
                  <a:avLst/>
                  <a:gdLst>
                    <a:gd name="connsiteX0" fmla="*/ 72962 w 72961"/>
                    <a:gd name="connsiteY0" fmla="*/ 12023 h 12022"/>
                    <a:gd name="connsiteX1" fmla="*/ 0 w 72961"/>
                    <a:gd name="connsiteY1" fmla="*/ 12023 h 12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022">
                      <a:moveTo>
                        <a:pt x="72962" y="12023"/>
                      </a:moveTo>
                      <a:cubicBezTo>
                        <a:pt x="72962" y="12023"/>
                        <a:pt x="36481" y="-15028"/>
                        <a:pt x="0" y="12023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ïsḷíḑè"/>
                <p:cNvSpPr/>
                <p:nvPr/>
              </p:nvSpPr>
              <p:spPr>
                <a:xfrm>
                  <a:off x="1468391" y="3816496"/>
                  <a:ext cx="140779" cy="140779"/>
                </a:xfrm>
                <a:custGeom>
                  <a:avLst/>
                  <a:gdLst>
                    <a:gd name="connsiteX0" fmla="*/ 140779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79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79" y="70390"/>
                      </a:moveTo>
                      <a:cubicBezTo>
                        <a:pt x="140779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5" y="0"/>
                        <a:pt x="70390" y="0"/>
                      </a:cubicBezTo>
                      <a:cubicBezTo>
                        <a:pt x="109265" y="0"/>
                        <a:pt x="140779" y="31515"/>
                        <a:pt x="140779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0" name="îṡľiḑe"/>
                <p:cNvSpPr/>
                <p:nvPr/>
              </p:nvSpPr>
              <p:spPr>
                <a:xfrm>
                  <a:off x="1799194" y="3816401"/>
                  <a:ext cx="121920" cy="140779"/>
                </a:xfrm>
                <a:custGeom>
                  <a:avLst/>
                  <a:gdLst>
                    <a:gd name="connsiteX0" fmla="*/ 70390 w 121920"/>
                    <a:gd name="connsiteY0" fmla="*/ 0 h 140779"/>
                    <a:gd name="connsiteX1" fmla="*/ 0 w 121920"/>
                    <a:gd name="connsiteY1" fmla="*/ 70390 h 140779"/>
                    <a:gd name="connsiteX2" fmla="*/ 70390 w 121920"/>
                    <a:gd name="connsiteY2" fmla="*/ 140779 h 140779"/>
                    <a:gd name="connsiteX3" fmla="*/ 107156 w 121920"/>
                    <a:gd name="connsiteY3" fmla="*/ 130207 h 140779"/>
                    <a:gd name="connsiteX4" fmla="*/ 121920 w 121920"/>
                    <a:gd name="connsiteY4" fmla="*/ 22574 h 140779"/>
                    <a:gd name="connsiteX5" fmla="*/ 70390 w 121920"/>
                    <a:gd name="connsiteY5" fmla="*/ 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1920" h="140779">
                      <a:moveTo>
                        <a:pt x="70390" y="0"/>
                      </a:moveTo>
                      <a:cubicBezTo>
                        <a:pt x="31528" y="0"/>
                        <a:pt x="0" y="31528"/>
                        <a:pt x="0" y="70390"/>
                      </a:cubicBezTo>
                      <a:cubicBezTo>
                        <a:pt x="0" y="109252"/>
                        <a:pt x="31528" y="140779"/>
                        <a:pt x="70390" y="140779"/>
                      </a:cubicBezTo>
                      <a:cubicBezTo>
                        <a:pt x="83915" y="140779"/>
                        <a:pt x="96393" y="136779"/>
                        <a:pt x="107156" y="130207"/>
                      </a:cubicBezTo>
                      <a:cubicBezTo>
                        <a:pt x="116015" y="98489"/>
                        <a:pt x="120968" y="62484"/>
                        <a:pt x="121920" y="22574"/>
                      </a:cubicBezTo>
                      <a:cubicBezTo>
                        <a:pt x="108966" y="8858"/>
                        <a:pt x="90773" y="0"/>
                        <a:pt x="70390" y="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îşḷîḋè"/>
                <p:cNvSpPr/>
                <p:nvPr/>
              </p:nvSpPr>
              <p:spPr>
                <a:xfrm>
                  <a:off x="1430516" y="3738119"/>
                  <a:ext cx="491536" cy="396130"/>
                </a:xfrm>
                <a:custGeom>
                  <a:avLst/>
                  <a:gdLst>
                    <a:gd name="connsiteX0" fmla="*/ 481454 w 491536"/>
                    <a:gd name="connsiteY0" fmla="*/ 150767 h 396130"/>
                    <a:gd name="connsiteX1" fmla="*/ 466119 w 491536"/>
                    <a:gd name="connsiteY1" fmla="*/ 227062 h 396130"/>
                    <a:gd name="connsiteX2" fmla="*/ 420494 w 491536"/>
                    <a:gd name="connsiteY2" fmla="*/ 129621 h 396130"/>
                    <a:gd name="connsiteX3" fmla="*/ 490884 w 491536"/>
                    <a:gd name="connsiteY3" fmla="*/ 7225 h 396130"/>
                    <a:gd name="connsiteX4" fmla="*/ 489074 w 491536"/>
                    <a:gd name="connsiteY4" fmla="*/ 653 h 396130"/>
                    <a:gd name="connsiteX5" fmla="*/ 482502 w 491536"/>
                    <a:gd name="connsiteY5" fmla="*/ 2462 h 396130"/>
                    <a:gd name="connsiteX6" fmla="*/ 412779 w 491536"/>
                    <a:gd name="connsiteY6" fmla="*/ 123906 h 396130"/>
                    <a:gd name="connsiteX7" fmla="*/ 245806 w 491536"/>
                    <a:gd name="connsiteY7" fmla="*/ 123906 h 396130"/>
                    <a:gd name="connsiteX8" fmla="*/ 78832 w 491536"/>
                    <a:gd name="connsiteY8" fmla="*/ 123906 h 396130"/>
                    <a:gd name="connsiteX9" fmla="*/ 9014 w 491536"/>
                    <a:gd name="connsiteY9" fmla="*/ 2462 h 396130"/>
                    <a:gd name="connsiteX10" fmla="*/ 2442 w 491536"/>
                    <a:gd name="connsiteY10" fmla="*/ 653 h 396130"/>
                    <a:gd name="connsiteX11" fmla="*/ 632 w 491536"/>
                    <a:gd name="connsiteY11" fmla="*/ 7225 h 396130"/>
                    <a:gd name="connsiteX12" fmla="*/ 71022 w 491536"/>
                    <a:gd name="connsiteY12" fmla="*/ 129621 h 396130"/>
                    <a:gd name="connsiteX13" fmla="*/ 25397 w 491536"/>
                    <a:gd name="connsiteY13" fmla="*/ 227062 h 396130"/>
                    <a:gd name="connsiteX14" fmla="*/ 10062 w 491536"/>
                    <a:gd name="connsiteY14" fmla="*/ 150767 h 396130"/>
                    <a:gd name="connsiteX15" fmla="*/ 4728 w 491536"/>
                    <a:gd name="connsiteY15" fmla="*/ 151338 h 396130"/>
                    <a:gd name="connsiteX16" fmla="*/ 346 w 491536"/>
                    <a:gd name="connsiteY16" fmla="*/ 150862 h 396130"/>
                    <a:gd name="connsiteX17" fmla="*/ 21492 w 491536"/>
                    <a:gd name="connsiteY17" fmla="*/ 244207 h 396130"/>
                    <a:gd name="connsiteX18" fmla="*/ 21873 w 491536"/>
                    <a:gd name="connsiteY18" fmla="*/ 244016 h 396130"/>
                    <a:gd name="connsiteX19" fmla="*/ 245710 w 491536"/>
                    <a:gd name="connsiteY19" fmla="*/ 396131 h 396130"/>
                    <a:gd name="connsiteX20" fmla="*/ 469548 w 491536"/>
                    <a:gd name="connsiteY20" fmla="*/ 244016 h 396130"/>
                    <a:gd name="connsiteX21" fmla="*/ 469929 w 491536"/>
                    <a:gd name="connsiteY21" fmla="*/ 244207 h 396130"/>
                    <a:gd name="connsiteX22" fmla="*/ 491074 w 491536"/>
                    <a:gd name="connsiteY22" fmla="*/ 150862 h 396130"/>
                    <a:gd name="connsiteX23" fmla="*/ 486693 w 491536"/>
                    <a:gd name="connsiteY23" fmla="*/ 151338 h 396130"/>
                    <a:gd name="connsiteX24" fmla="*/ 481454 w 491536"/>
                    <a:gd name="connsiteY24" fmla="*/ 150767 h 3961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491536" h="396130">
                      <a:moveTo>
                        <a:pt x="481454" y="150767"/>
                      </a:moveTo>
                      <a:cubicBezTo>
                        <a:pt x="477073" y="188676"/>
                        <a:pt x="470596" y="213441"/>
                        <a:pt x="466119" y="227062"/>
                      </a:cubicBezTo>
                      <a:cubicBezTo>
                        <a:pt x="438306" y="185914"/>
                        <a:pt x="424780" y="144480"/>
                        <a:pt x="420494" y="129621"/>
                      </a:cubicBezTo>
                      <a:lnTo>
                        <a:pt x="490884" y="7225"/>
                      </a:lnTo>
                      <a:cubicBezTo>
                        <a:pt x="492217" y="4939"/>
                        <a:pt x="491455" y="1986"/>
                        <a:pt x="489074" y="653"/>
                      </a:cubicBezTo>
                      <a:cubicBezTo>
                        <a:pt x="486788" y="-681"/>
                        <a:pt x="483836" y="81"/>
                        <a:pt x="482502" y="2462"/>
                      </a:cubicBezTo>
                      <a:lnTo>
                        <a:pt x="412779" y="123906"/>
                      </a:lnTo>
                      <a:lnTo>
                        <a:pt x="245806" y="123906"/>
                      </a:lnTo>
                      <a:lnTo>
                        <a:pt x="78832" y="123906"/>
                      </a:lnTo>
                      <a:lnTo>
                        <a:pt x="9014" y="2462"/>
                      </a:lnTo>
                      <a:cubicBezTo>
                        <a:pt x="7681" y="176"/>
                        <a:pt x="4728" y="-681"/>
                        <a:pt x="2442" y="653"/>
                      </a:cubicBezTo>
                      <a:cubicBezTo>
                        <a:pt x="156" y="1986"/>
                        <a:pt x="-701" y="4939"/>
                        <a:pt x="632" y="7225"/>
                      </a:cubicBezTo>
                      <a:lnTo>
                        <a:pt x="71022" y="129621"/>
                      </a:lnTo>
                      <a:cubicBezTo>
                        <a:pt x="66736" y="144480"/>
                        <a:pt x="53210" y="185914"/>
                        <a:pt x="25397" y="227062"/>
                      </a:cubicBezTo>
                      <a:cubicBezTo>
                        <a:pt x="21016" y="213441"/>
                        <a:pt x="14443" y="188581"/>
                        <a:pt x="10062" y="150767"/>
                      </a:cubicBezTo>
                      <a:cubicBezTo>
                        <a:pt x="8252" y="150957"/>
                        <a:pt x="6538" y="151338"/>
                        <a:pt x="4728" y="151338"/>
                      </a:cubicBezTo>
                      <a:cubicBezTo>
                        <a:pt x="3204" y="151338"/>
                        <a:pt x="1775" y="151052"/>
                        <a:pt x="346" y="150862"/>
                      </a:cubicBezTo>
                      <a:cubicBezTo>
                        <a:pt x="7681" y="215346"/>
                        <a:pt x="20920" y="243064"/>
                        <a:pt x="21492" y="244207"/>
                      </a:cubicBezTo>
                      <a:lnTo>
                        <a:pt x="21873" y="244016"/>
                      </a:lnTo>
                      <a:cubicBezTo>
                        <a:pt x="57306" y="333075"/>
                        <a:pt x="144079" y="396131"/>
                        <a:pt x="245710" y="396131"/>
                      </a:cubicBezTo>
                      <a:cubicBezTo>
                        <a:pt x="347342" y="396131"/>
                        <a:pt x="434115" y="333075"/>
                        <a:pt x="469548" y="244016"/>
                      </a:cubicBezTo>
                      <a:lnTo>
                        <a:pt x="469929" y="244207"/>
                      </a:lnTo>
                      <a:cubicBezTo>
                        <a:pt x="470500" y="243064"/>
                        <a:pt x="483740" y="215251"/>
                        <a:pt x="491074" y="150862"/>
                      </a:cubicBezTo>
                      <a:cubicBezTo>
                        <a:pt x="489646" y="150957"/>
                        <a:pt x="488217" y="151338"/>
                        <a:pt x="486693" y="151338"/>
                      </a:cubicBezTo>
                      <a:cubicBezTo>
                        <a:pt x="484978" y="151338"/>
                        <a:pt x="483264" y="150957"/>
                        <a:pt x="481454" y="150767"/>
                      </a:cubicBezTo>
                      <a:close/>
                    </a:path>
                  </a:pathLst>
                </a:custGeom>
                <a:solidFill>
                  <a:srgbClr val="CCE9FC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1" name="ïṡľiḍe"/>
              <p:cNvSpPr/>
              <p:nvPr/>
            </p:nvSpPr>
            <p:spPr>
              <a:xfrm>
                <a:off x="1798908" y="5315134"/>
                <a:ext cx="401733" cy="250437"/>
              </a:xfrm>
              <a:custGeom>
                <a:avLst/>
                <a:gdLst>
                  <a:gd name="connsiteX0" fmla="*/ 22098 w 401733"/>
                  <a:gd name="connsiteY0" fmla="*/ 74320 h 250437"/>
                  <a:gd name="connsiteX1" fmla="*/ 286703 w 401733"/>
                  <a:gd name="connsiteY1" fmla="*/ 7169 h 250437"/>
                  <a:gd name="connsiteX2" fmla="*/ 231267 w 401733"/>
                  <a:gd name="connsiteY2" fmla="*/ 62509 h 250437"/>
                  <a:gd name="connsiteX3" fmla="*/ 401669 w 401733"/>
                  <a:gd name="connsiteY3" fmla="*/ 83940 h 250437"/>
                  <a:gd name="connsiteX4" fmla="*/ 352616 w 401733"/>
                  <a:gd name="connsiteY4" fmla="*/ 115849 h 250437"/>
                  <a:gd name="connsiteX5" fmla="*/ 369951 w 401733"/>
                  <a:gd name="connsiteY5" fmla="*/ 135090 h 250437"/>
                  <a:gd name="connsiteX6" fmla="*/ 335471 w 401733"/>
                  <a:gd name="connsiteY6" fmla="*/ 159759 h 250437"/>
                  <a:gd name="connsiteX7" fmla="*/ 310229 w 401733"/>
                  <a:gd name="connsiteY7" fmla="*/ 194430 h 250437"/>
                  <a:gd name="connsiteX8" fmla="*/ 255270 w 401733"/>
                  <a:gd name="connsiteY8" fmla="*/ 235007 h 250437"/>
                  <a:gd name="connsiteX9" fmla="*/ 0 w 401733"/>
                  <a:gd name="connsiteY9" fmla="*/ 250437 h 250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01733" h="250437">
                    <a:moveTo>
                      <a:pt x="22098" y="74320"/>
                    </a:moveTo>
                    <a:cubicBezTo>
                      <a:pt x="22098" y="74320"/>
                      <a:pt x="259937" y="-27407"/>
                      <a:pt x="286703" y="7169"/>
                    </a:cubicBezTo>
                    <a:cubicBezTo>
                      <a:pt x="313563" y="41745"/>
                      <a:pt x="231267" y="62509"/>
                      <a:pt x="231267" y="62509"/>
                    </a:cubicBezTo>
                    <a:cubicBezTo>
                      <a:pt x="231267" y="62509"/>
                      <a:pt x="405575" y="53175"/>
                      <a:pt x="401669" y="83940"/>
                    </a:cubicBezTo>
                    <a:cubicBezTo>
                      <a:pt x="397859" y="114611"/>
                      <a:pt x="352616" y="115849"/>
                      <a:pt x="352616" y="115849"/>
                    </a:cubicBezTo>
                    <a:cubicBezTo>
                      <a:pt x="352616" y="115849"/>
                      <a:pt x="371951" y="119183"/>
                      <a:pt x="369951" y="135090"/>
                    </a:cubicBezTo>
                    <a:cubicBezTo>
                      <a:pt x="367951" y="150901"/>
                      <a:pt x="335947" y="155759"/>
                      <a:pt x="335471" y="159759"/>
                    </a:cubicBezTo>
                    <a:cubicBezTo>
                      <a:pt x="365665" y="169189"/>
                      <a:pt x="347472" y="199098"/>
                      <a:pt x="310229" y="194430"/>
                    </a:cubicBezTo>
                    <a:cubicBezTo>
                      <a:pt x="339757" y="215862"/>
                      <a:pt x="309563" y="232149"/>
                      <a:pt x="255270" y="235007"/>
                    </a:cubicBezTo>
                    <a:cubicBezTo>
                      <a:pt x="200978" y="237864"/>
                      <a:pt x="0" y="250437"/>
                      <a:pt x="0" y="250437"/>
                    </a:cubicBezTo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2" name="ïṡḻîḋé"/>
              <p:cNvSpPr/>
              <p:nvPr/>
            </p:nvSpPr>
            <p:spPr>
              <a:xfrm>
                <a:off x="2113602" y="5072904"/>
                <a:ext cx="375147" cy="265215"/>
              </a:xfrm>
              <a:custGeom>
                <a:avLst/>
                <a:gdLst>
                  <a:gd name="connsiteX0" fmla="*/ 12 w 375147"/>
                  <a:gd name="connsiteY0" fmla="*/ 62614 h 265215"/>
                  <a:gd name="connsiteX1" fmla="*/ 171748 w 375147"/>
                  <a:gd name="connsiteY1" fmla="*/ 67472 h 265215"/>
                  <a:gd name="connsiteX2" fmla="*/ 125456 w 375147"/>
                  <a:gd name="connsiteY2" fmla="*/ 4321 h 265215"/>
                  <a:gd name="connsiteX3" fmla="*/ 325577 w 375147"/>
                  <a:gd name="connsiteY3" fmla="*/ 80617 h 265215"/>
                  <a:gd name="connsiteX4" fmla="*/ 375107 w 375147"/>
                  <a:gd name="connsiteY4" fmla="*/ 169104 h 265215"/>
                  <a:gd name="connsiteX5" fmla="*/ 375107 w 375147"/>
                  <a:gd name="connsiteY5" fmla="*/ 169104 h 265215"/>
                  <a:gd name="connsiteX6" fmla="*/ 255282 w 375147"/>
                  <a:gd name="connsiteY6" fmla="*/ 262925 h 265215"/>
                  <a:gd name="connsiteX7" fmla="*/ 121742 w 375147"/>
                  <a:gd name="connsiteY7" fmla="*/ 234160 h 265215"/>
                  <a:gd name="connsiteX8" fmla="*/ 73545 w 375147"/>
                  <a:gd name="connsiteY8" fmla="*/ 185677 h 265215"/>
                  <a:gd name="connsiteX9" fmla="*/ 53828 w 375147"/>
                  <a:gd name="connsiteY9" fmla="*/ 147577 h 265215"/>
                  <a:gd name="connsiteX10" fmla="*/ 23539 w 375147"/>
                  <a:gd name="connsiteY10" fmla="*/ 117955 h 265215"/>
                  <a:gd name="connsiteX11" fmla="*/ 43541 w 375147"/>
                  <a:gd name="connsiteY11" fmla="*/ 101667 h 265215"/>
                  <a:gd name="connsiteX12" fmla="*/ 12 w 375147"/>
                  <a:gd name="connsiteY12" fmla="*/ 62614 h 2652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75147" h="265215">
                    <a:moveTo>
                      <a:pt x="12" y="62614"/>
                    </a:moveTo>
                    <a:cubicBezTo>
                      <a:pt x="869" y="31753"/>
                      <a:pt x="171748" y="67472"/>
                      <a:pt x="171748" y="67472"/>
                    </a:cubicBezTo>
                    <a:cubicBezTo>
                      <a:pt x="171748" y="67472"/>
                      <a:pt x="93643" y="34325"/>
                      <a:pt x="125456" y="4321"/>
                    </a:cubicBezTo>
                    <a:cubicBezTo>
                      <a:pt x="147364" y="-16443"/>
                      <a:pt x="258711" y="42326"/>
                      <a:pt x="325577" y="80617"/>
                    </a:cubicBezTo>
                    <a:cubicBezTo>
                      <a:pt x="357200" y="98714"/>
                      <a:pt x="376154" y="132718"/>
                      <a:pt x="375107" y="169104"/>
                    </a:cubicBezTo>
                    <a:lnTo>
                      <a:pt x="375107" y="169104"/>
                    </a:lnTo>
                    <a:cubicBezTo>
                      <a:pt x="373392" y="231016"/>
                      <a:pt x="315861" y="276070"/>
                      <a:pt x="255282" y="262925"/>
                    </a:cubicBezTo>
                    <a:cubicBezTo>
                      <a:pt x="202609" y="251495"/>
                      <a:pt x="146602" y="239303"/>
                      <a:pt x="121742" y="234160"/>
                    </a:cubicBezTo>
                    <a:cubicBezTo>
                      <a:pt x="68497" y="223111"/>
                      <a:pt x="41160" y="202346"/>
                      <a:pt x="73545" y="185677"/>
                    </a:cubicBezTo>
                    <a:cubicBezTo>
                      <a:pt x="36017" y="184630"/>
                      <a:pt x="22586" y="152245"/>
                      <a:pt x="53828" y="147577"/>
                    </a:cubicBezTo>
                    <a:cubicBezTo>
                      <a:pt x="53924" y="143577"/>
                      <a:pt x="23063" y="133957"/>
                      <a:pt x="23539" y="117955"/>
                    </a:cubicBezTo>
                    <a:cubicBezTo>
                      <a:pt x="24015" y="101953"/>
                      <a:pt x="43541" y="101667"/>
                      <a:pt x="43541" y="101667"/>
                    </a:cubicBezTo>
                    <a:cubicBezTo>
                      <a:pt x="43541" y="101667"/>
                      <a:pt x="-845" y="93475"/>
                      <a:pt x="12" y="62614"/>
                    </a:cubicBezTo>
                    <a:close/>
                  </a:path>
                </a:pathLst>
              </a:custGeom>
              <a:solidFill>
                <a:srgbClr val="F8C6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3" name="ï$ľîḓê"/>
              <p:cNvSpPr/>
              <p:nvPr/>
            </p:nvSpPr>
            <p:spPr>
              <a:xfrm>
                <a:off x="1317908" y="3400408"/>
                <a:ext cx="544912" cy="350407"/>
              </a:xfrm>
              <a:custGeom>
                <a:avLst/>
                <a:gdLst>
                  <a:gd name="connsiteX0" fmla="*/ 1130 w 544912"/>
                  <a:gd name="connsiteY0" fmla="*/ 350366 h 350407"/>
                  <a:gd name="connsiteX1" fmla="*/ 544912 w 544912"/>
                  <a:gd name="connsiteY1" fmla="*/ 56329 h 350407"/>
                  <a:gd name="connsiteX2" fmla="*/ 1130 w 544912"/>
                  <a:gd name="connsiteY2" fmla="*/ 350366 h 350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44912" h="350407">
                    <a:moveTo>
                      <a:pt x="1130" y="350366"/>
                    </a:moveTo>
                    <a:cubicBezTo>
                      <a:pt x="1130" y="350366"/>
                      <a:pt x="389750" y="360653"/>
                      <a:pt x="544912" y="56329"/>
                    </a:cubicBezTo>
                    <a:cubicBezTo>
                      <a:pt x="205537" y="-116645"/>
                      <a:pt x="-17920" y="145197"/>
                      <a:pt x="1130" y="350366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4" name="îsḷiďè"/>
              <p:cNvSpPr/>
              <p:nvPr/>
            </p:nvSpPr>
            <p:spPr>
              <a:xfrm>
                <a:off x="1520325" y="4253313"/>
                <a:ext cx="309656" cy="377571"/>
              </a:xfrm>
              <a:custGeom>
                <a:avLst/>
                <a:gdLst>
                  <a:gd name="connsiteX0" fmla="*/ 9978 w 309656"/>
                  <a:gd name="connsiteY0" fmla="*/ 0 h 377571"/>
                  <a:gd name="connsiteX1" fmla="*/ 152853 w 309656"/>
                  <a:gd name="connsiteY1" fmla="*/ 147066 h 377571"/>
                  <a:gd name="connsiteX2" fmla="*/ 299252 w 309656"/>
                  <a:gd name="connsiteY2" fmla="*/ 0 h 377571"/>
                  <a:gd name="connsiteX3" fmla="*/ 152853 w 309656"/>
                  <a:gd name="connsiteY3" fmla="*/ 377571 h 377571"/>
                  <a:gd name="connsiteX4" fmla="*/ 9978 w 309656"/>
                  <a:gd name="connsiteY4" fmla="*/ 0 h 3775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9656" h="377571">
                    <a:moveTo>
                      <a:pt x="9978" y="0"/>
                    </a:moveTo>
                    <a:cubicBezTo>
                      <a:pt x="9978" y="0"/>
                      <a:pt x="44649" y="147066"/>
                      <a:pt x="152853" y="147066"/>
                    </a:cubicBezTo>
                    <a:cubicBezTo>
                      <a:pt x="261057" y="147066"/>
                      <a:pt x="299252" y="0"/>
                      <a:pt x="299252" y="0"/>
                    </a:cubicBezTo>
                    <a:cubicBezTo>
                      <a:pt x="299252" y="0"/>
                      <a:pt x="367832" y="162592"/>
                      <a:pt x="152853" y="377571"/>
                    </a:cubicBezTo>
                    <a:cubicBezTo>
                      <a:pt x="-56316" y="164687"/>
                      <a:pt x="9978" y="0"/>
                      <a:pt x="9978" y="0"/>
                    </a:cubicBez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5" name="íšḷiḑé"/>
              <p:cNvSpPr/>
              <p:nvPr/>
            </p:nvSpPr>
            <p:spPr>
              <a:xfrm>
                <a:off x="1182259" y="6004484"/>
                <a:ext cx="234600" cy="234886"/>
              </a:xfrm>
              <a:custGeom>
                <a:avLst/>
                <a:gdLst>
                  <a:gd name="connsiteX0" fmla="*/ 0 w 234600"/>
                  <a:gd name="connsiteY0" fmla="*/ 176022 h 234886"/>
                  <a:gd name="connsiteX1" fmla="*/ 175927 w 234600"/>
                  <a:gd name="connsiteY1" fmla="*/ 0 h 234886"/>
                  <a:gd name="connsiteX2" fmla="*/ 234601 w 234600"/>
                  <a:gd name="connsiteY2" fmla="*/ 58674 h 234886"/>
                  <a:gd name="connsiteX3" fmla="*/ 58388 w 234600"/>
                  <a:gd name="connsiteY3" fmla="*/ 234887 h 23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600" h="234886">
                    <a:moveTo>
                      <a:pt x="0" y="176022"/>
                    </a:moveTo>
                    <a:lnTo>
                      <a:pt x="175927" y="0"/>
                    </a:lnTo>
                    <a:lnTo>
                      <a:pt x="234601" y="58674"/>
                    </a:lnTo>
                    <a:lnTo>
                      <a:pt x="58388" y="234887"/>
                    </a:lnTo>
                    <a:close/>
                  </a:path>
                </a:pathLst>
              </a:custGeom>
              <a:solidFill>
                <a:srgbClr val="37BD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6" name="ïślíḍê"/>
              <p:cNvSpPr/>
              <p:nvPr/>
            </p:nvSpPr>
            <p:spPr>
              <a:xfrm>
                <a:off x="1815482" y="6004484"/>
                <a:ext cx="234600" cy="234886"/>
              </a:xfrm>
              <a:custGeom>
                <a:avLst/>
                <a:gdLst>
                  <a:gd name="connsiteX0" fmla="*/ 234601 w 234600"/>
                  <a:gd name="connsiteY0" fmla="*/ 176022 h 234886"/>
                  <a:gd name="connsiteX1" fmla="*/ 58674 w 234600"/>
                  <a:gd name="connsiteY1" fmla="*/ 0 h 234886"/>
                  <a:gd name="connsiteX2" fmla="*/ 0 w 234600"/>
                  <a:gd name="connsiteY2" fmla="*/ 58674 h 234886"/>
                  <a:gd name="connsiteX3" fmla="*/ 176213 w 234600"/>
                  <a:gd name="connsiteY3" fmla="*/ 234887 h 234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600" h="234886">
                    <a:moveTo>
                      <a:pt x="234601" y="176022"/>
                    </a:moveTo>
                    <a:lnTo>
                      <a:pt x="58674" y="0"/>
                    </a:lnTo>
                    <a:lnTo>
                      <a:pt x="0" y="58674"/>
                    </a:lnTo>
                    <a:lnTo>
                      <a:pt x="176213" y="234887"/>
                    </a:lnTo>
                    <a:close/>
                  </a:path>
                </a:pathLst>
              </a:custGeom>
              <a:solidFill>
                <a:srgbClr val="37BD9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7" name="íŝļîḋè"/>
              <p:cNvSpPr/>
              <p:nvPr/>
            </p:nvSpPr>
            <p:spPr>
              <a:xfrm>
                <a:off x="1182260" y="6004484"/>
                <a:ext cx="175926" cy="176022"/>
              </a:xfrm>
              <a:custGeom>
                <a:avLst/>
                <a:gdLst>
                  <a:gd name="connsiteX0" fmla="*/ 0 w 175926"/>
                  <a:gd name="connsiteY0" fmla="*/ 176022 h 176022"/>
                  <a:gd name="connsiteX1" fmla="*/ 175927 w 175926"/>
                  <a:gd name="connsiteY1" fmla="*/ 0 h 17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926" h="176022">
                    <a:moveTo>
                      <a:pt x="0" y="176022"/>
                    </a:moveTo>
                    <a:lnTo>
                      <a:pt x="175927" y="0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78" name="íS1îḍè"/>
              <p:cNvSpPr/>
              <p:nvPr/>
            </p:nvSpPr>
            <p:spPr>
              <a:xfrm>
                <a:off x="1874156" y="6004484"/>
                <a:ext cx="175926" cy="176022"/>
              </a:xfrm>
              <a:custGeom>
                <a:avLst/>
                <a:gdLst>
                  <a:gd name="connsiteX0" fmla="*/ 0 w 175926"/>
                  <a:gd name="connsiteY0" fmla="*/ 0 h 176022"/>
                  <a:gd name="connsiteX1" fmla="*/ 175927 w 175926"/>
                  <a:gd name="connsiteY1" fmla="*/ 176022 h 1760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75926" h="176022">
                    <a:moveTo>
                      <a:pt x="0" y="0"/>
                    </a:moveTo>
                    <a:lnTo>
                      <a:pt x="175927" y="176022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79" name="图形 278"/>
              <p:cNvGrpSpPr/>
              <p:nvPr/>
            </p:nvGrpSpPr>
            <p:grpSpPr>
              <a:xfrm>
                <a:off x="1425338" y="3702386"/>
                <a:ext cx="504634" cy="136398"/>
                <a:chOff x="1425338" y="3702386"/>
                <a:chExt cx="504634" cy="136398"/>
              </a:xfrm>
              <a:noFill/>
            </p:grpSpPr>
            <p:sp>
              <p:nvSpPr>
                <p:cNvPr id="83" name="îšlïde"/>
                <p:cNvSpPr/>
                <p:nvPr/>
              </p:nvSpPr>
              <p:spPr>
                <a:xfrm>
                  <a:off x="1481630" y="3702386"/>
                  <a:ext cx="213931" cy="136398"/>
                </a:xfrm>
                <a:custGeom>
                  <a:avLst/>
                  <a:gdLst>
                    <a:gd name="connsiteX0" fmla="*/ 68199 w 213931"/>
                    <a:gd name="connsiteY0" fmla="*/ 136398 h 136398"/>
                    <a:gd name="connsiteX1" fmla="*/ 145733 w 213931"/>
                    <a:gd name="connsiteY1" fmla="*/ 136398 h 136398"/>
                    <a:gd name="connsiteX2" fmla="*/ 213931 w 213931"/>
                    <a:gd name="connsiteY2" fmla="*/ 68199 h 136398"/>
                    <a:gd name="connsiteX3" fmla="*/ 213931 w 213931"/>
                    <a:gd name="connsiteY3" fmla="*/ 68199 h 136398"/>
                    <a:gd name="connsiteX4" fmla="*/ 145733 w 213931"/>
                    <a:gd name="connsiteY4" fmla="*/ 0 h 136398"/>
                    <a:gd name="connsiteX5" fmla="*/ 68199 w 213931"/>
                    <a:gd name="connsiteY5" fmla="*/ 0 h 136398"/>
                    <a:gd name="connsiteX6" fmla="*/ 0 w 213931"/>
                    <a:gd name="connsiteY6" fmla="*/ 68199 h 136398"/>
                    <a:gd name="connsiteX7" fmla="*/ 0 w 213931"/>
                    <a:gd name="connsiteY7" fmla="*/ 68199 h 136398"/>
                    <a:gd name="connsiteX8" fmla="*/ 68199 w 213931"/>
                    <a:gd name="connsiteY8" fmla="*/ 136398 h 136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3931" h="136398">
                      <a:moveTo>
                        <a:pt x="68199" y="136398"/>
                      </a:moveTo>
                      <a:lnTo>
                        <a:pt x="145733" y="136398"/>
                      </a:lnTo>
                      <a:cubicBezTo>
                        <a:pt x="183261" y="136398"/>
                        <a:pt x="213931" y="105728"/>
                        <a:pt x="213931" y="68199"/>
                      </a:cubicBezTo>
                      <a:lnTo>
                        <a:pt x="213931" y="68199"/>
                      </a:lnTo>
                      <a:cubicBezTo>
                        <a:pt x="213931" y="30671"/>
                        <a:pt x="183261" y="0"/>
                        <a:pt x="145733" y="0"/>
                      </a:cubicBezTo>
                      <a:lnTo>
                        <a:pt x="68199" y="0"/>
                      </a:lnTo>
                      <a:cubicBezTo>
                        <a:pt x="30671" y="0"/>
                        <a:pt x="0" y="30671"/>
                        <a:pt x="0" y="68199"/>
                      </a:cubicBezTo>
                      <a:lnTo>
                        <a:pt x="0" y="68199"/>
                      </a:lnTo>
                      <a:cubicBezTo>
                        <a:pt x="0" y="105728"/>
                        <a:pt x="30671" y="136398"/>
                        <a:pt x="68199" y="136398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4" name="îšľïḑé"/>
                <p:cNvSpPr/>
                <p:nvPr/>
              </p:nvSpPr>
              <p:spPr>
                <a:xfrm>
                  <a:off x="1716040" y="3702386"/>
                  <a:ext cx="213931" cy="136398"/>
                </a:xfrm>
                <a:custGeom>
                  <a:avLst/>
                  <a:gdLst>
                    <a:gd name="connsiteX0" fmla="*/ 68199 w 213931"/>
                    <a:gd name="connsiteY0" fmla="*/ 136398 h 136398"/>
                    <a:gd name="connsiteX1" fmla="*/ 145733 w 213931"/>
                    <a:gd name="connsiteY1" fmla="*/ 136398 h 136398"/>
                    <a:gd name="connsiteX2" fmla="*/ 213932 w 213931"/>
                    <a:gd name="connsiteY2" fmla="*/ 68199 h 136398"/>
                    <a:gd name="connsiteX3" fmla="*/ 213932 w 213931"/>
                    <a:gd name="connsiteY3" fmla="*/ 68199 h 136398"/>
                    <a:gd name="connsiteX4" fmla="*/ 145733 w 213931"/>
                    <a:gd name="connsiteY4" fmla="*/ 0 h 136398"/>
                    <a:gd name="connsiteX5" fmla="*/ 68199 w 213931"/>
                    <a:gd name="connsiteY5" fmla="*/ 0 h 136398"/>
                    <a:gd name="connsiteX6" fmla="*/ 0 w 213931"/>
                    <a:gd name="connsiteY6" fmla="*/ 68199 h 136398"/>
                    <a:gd name="connsiteX7" fmla="*/ 0 w 213931"/>
                    <a:gd name="connsiteY7" fmla="*/ 68199 h 136398"/>
                    <a:gd name="connsiteX8" fmla="*/ 68199 w 213931"/>
                    <a:gd name="connsiteY8" fmla="*/ 136398 h 1363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13931" h="136398">
                      <a:moveTo>
                        <a:pt x="68199" y="136398"/>
                      </a:moveTo>
                      <a:lnTo>
                        <a:pt x="145733" y="136398"/>
                      </a:lnTo>
                      <a:cubicBezTo>
                        <a:pt x="183261" y="136398"/>
                        <a:pt x="213932" y="105728"/>
                        <a:pt x="213932" y="68199"/>
                      </a:cubicBezTo>
                      <a:lnTo>
                        <a:pt x="213932" y="68199"/>
                      </a:lnTo>
                      <a:cubicBezTo>
                        <a:pt x="213932" y="30671"/>
                        <a:pt x="183261" y="0"/>
                        <a:pt x="145733" y="0"/>
                      </a:cubicBezTo>
                      <a:lnTo>
                        <a:pt x="68199" y="0"/>
                      </a:lnTo>
                      <a:cubicBezTo>
                        <a:pt x="30671" y="0"/>
                        <a:pt x="0" y="30671"/>
                        <a:pt x="0" y="68199"/>
                      </a:cubicBezTo>
                      <a:lnTo>
                        <a:pt x="0" y="68199"/>
                      </a:lnTo>
                      <a:cubicBezTo>
                        <a:pt x="0" y="105728"/>
                        <a:pt x="30671" y="136398"/>
                        <a:pt x="68199" y="136398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íšḷiḓê"/>
                <p:cNvSpPr/>
                <p:nvPr/>
              </p:nvSpPr>
              <p:spPr>
                <a:xfrm>
                  <a:off x="1695562" y="3770586"/>
                  <a:ext cx="20478" cy="9525"/>
                </a:xfrm>
                <a:custGeom>
                  <a:avLst/>
                  <a:gdLst>
                    <a:gd name="connsiteX0" fmla="*/ 0 w 20478"/>
                    <a:gd name="connsiteY0" fmla="*/ 0 h 9525"/>
                    <a:gd name="connsiteX1" fmla="*/ 20479 w 20478"/>
                    <a:gd name="connsiteY1" fmla="*/ 0 h 9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20478" h="9525">
                      <a:moveTo>
                        <a:pt x="0" y="0"/>
                      </a:moveTo>
                      <a:lnTo>
                        <a:pt x="20479" y="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6" name="íṡḷíḍe"/>
                <p:cNvSpPr/>
                <p:nvPr/>
              </p:nvSpPr>
              <p:spPr>
                <a:xfrm>
                  <a:off x="1425338" y="3741820"/>
                  <a:ext cx="61817" cy="2000"/>
                </a:xfrm>
                <a:custGeom>
                  <a:avLst/>
                  <a:gdLst>
                    <a:gd name="connsiteX0" fmla="*/ 0 w 61817"/>
                    <a:gd name="connsiteY0" fmla="*/ 0 h 2000"/>
                    <a:gd name="connsiteX1" fmla="*/ 61817 w 61817"/>
                    <a:gd name="connsiteY1" fmla="*/ 2000 h 2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1817" h="2000">
                      <a:moveTo>
                        <a:pt x="0" y="0"/>
                      </a:moveTo>
                      <a:lnTo>
                        <a:pt x="61817" y="2000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0" name="图形 278"/>
              <p:cNvGrpSpPr/>
              <p:nvPr/>
            </p:nvGrpSpPr>
            <p:grpSpPr>
              <a:xfrm>
                <a:off x="1355329" y="3282858"/>
                <a:ext cx="644366" cy="334089"/>
                <a:chOff x="1355329" y="3282858"/>
                <a:chExt cx="644366" cy="334089"/>
              </a:xfrm>
              <a:solidFill>
                <a:schemeClr val="accent1"/>
              </a:solidFill>
            </p:grpSpPr>
            <p:sp>
              <p:nvSpPr>
                <p:cNvPr id="81" name="işḷíḑê"/>
                <p:cNvSpPr/>
                <p:nvPr/>
              </p:nvSpPr>
              <p:spPr>
                <a:xfrm>
                  <a:off x="1355329" y="3282858"/>
                  <a:ext cx="644366" cy="334089"/>
                </a:xfrm>
                <a:custGeom>
                  <a:avLst/>
                  <a:gdLst>
                    <a:gd name="connsiteX0" fmla="*/ 542354 w 644366"/>
                    <a:gd name="connsiteY0" fmla="*/ 334089 h 334089"/>
                    <a:gd name="connsiteX1" fmla="*/ 102013 w 644366"/>
                    <a:gd name="connsiteY1" fmla="*/ 334089 h 334089"/>
                    <a:gd name="connsiteX2" fmla="*/ 0 w 644366"/>
                    <a:gd name="connsiteY2" fmla="*/ 51006 h 334089"/>
                    <a:gd name="connsiteX3" fmla="*/ 644366 w 644366"/>
                    <a:gd name="connsiteY3" fmla="*/ 51006 h 334089"/>
                    <a:gd name="connsiteX4" fmla="*/ 542354 w 644366"/>
                    <a:gd name="connsiteY4" fmla="*/ 334089 h 3340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44366" h="334089">
                      <a:moveTo>
                        <a:pt x="542354" y="334089"/>
                      </a:moveTo>
                      <a:cubicBezTo>
                        <a:pt x="399002" y="289512"/>
                        <a:pt x="245459" y="289512"/>
                        <a:pt x="102013" y="334089"/>
                      </a:cubicBezTo>
                      <a:cubicBezTo>
                        <a:pt x="69247" y="239316"/>
                        <a:pt x="35243" y="144923"/>
                        <a:pt x="0" y="51006"/>
                      </a:cubicBezTo>
                      <a:cubicBezTo>
                        <a:pt x="209455" y="-17002"/>
                        <a:pt x="435007" y="-17002"/>
                        <a:pt x="644366" y="51006"/>
                      </a:cubicBezTo>
                      <a:cubicBezTo>
                        <a:pt x="609219" y="144923"/>
                        <a:pt x="575120" y="239316"/>
                        <a:pt x="542354" y="334089"/>
                      </a:cubicBezTo>
                      <a:close/>
                    </a:path>
                  </a:pathLst>
                </a:custGeom>
                <a:solidFill>
                  <a:srgbClr val="F0F1F1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82" name="íŝľíḍé"/>
                <p:cNvSpPr/>
                <p:nvPr/>
              </p:nvSpPr>
              <p:spPr>
                <a:xfrm>
                  <a:off x="1584595" y="3343675"/>
                  <a:ext cx="185928" cy="185832"/>
                </a:xfrm>
                <a:custGeom>
                  <a:avLst/>
                  <a:gdLst>
                    <a:gd name="connsiteX0" fmla="*/ 185928 w 185928"/>
                    <a:gd name="connsiteY0" fmla="*/ 57150 h 185832"/>
                    <a:gd name="connsiteX1" fmla="*/ 128683 w 185928"/>
                    <a:gd name="connsiteY1" fmla="*/ 57150 h 185832"/>
                    <a:gd name="connsiteX2" fmla="*/ 128683 w 185928"/>
                    <a:gd name="connsiteY2" fmla="*/ 0 h 185832"/>
                    <a:gd name="connsiteX3" fmla="*/ 57245 w 185928"/>
                    <a:gd name="connsiteY3" fmla="*/ 0 h 185832"/>
                    <a:gd name="connsiteX4" fmla="*/ 57245 w 185928"/>
                    <a:gd name="connsiteY4" fmla="*/ 57150 h 185832"/>
                    <a:gd name="connsiteX5" fmla="*/ 0 w 185928"/>
                    <a:gd name="connsiteY5" fmla="*/ 57150 h 185832"/>
                    <a:gd name="connsiteX6" fmla="*/ 0 w 185928"/>
                    <a:gd name="connsiteY6" fmla="*/ 128683 h 185832"/>
                    <a:gd name="connsiteX7" fmla="*/ 57245 w 185928"/>
                    <a:gd name="connsiteY7" fmla="*/ 128683 h 185832"/>
                    <a:gd name="connsiteX8" fmla="*/ 57245 w 185928"/>
                    <a:gd name="connsiteY8" fmla="*/ 185833 h 185832"/>
                    <a:gd name="connsiteX9" fmla="*/ 128683 w 185928"/>
                    <a:gd name="connsiteY9" fmla="*/ 185833 h 185832"/>
                    <a:gd name="connsiteX10" fmla="*/ 128683 w 185928"/>
                    <a:gd name="connsiteY10" fmla="*/ 128683 h 185832"/>
                    <a:gd name="connsiteX11" fmla="*/ 185928 w 185928"/>
                    <a:gd name="connsiteY11" fmla="*/ 128683 h 18583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85928" h="185832">
                      <a:moveTo>
                        <a:pt x="185928" y="57150"/>
                      </a:moveTo>
                      <a:lnTo>
                        <a:pt x="128683" y="57150"/>
                      </a:lnTo>
                      <a:lnTo>
                        <a:pt x="128683" y="0"/>
                      </a:lnTo>
                      <a:lnTo>
                        <a:pt x="57245" y="0"/>
                      </a:lnTo>
                      <a:lnTo>
                        <a:pt x="57245" y="57150"/>
                      </a:lnTo>
                      <a:lnTo>
                        <a:pt x="0" y="57150"/>
                      </a:lnTo>
                      <a:lnTo>
                        <a:pt x="0" y="128683"/>
                      </a:lnTo>
                      <a:lnTo>
                        <a:pt x="57245" y="128683"/>
                      </a:lnTo>
                      <a:lnTo>
                        <a:pt x="57245" y="185833"/>
                      </a:lnTo>
                      <a:lnTo>
                        <a:pt x="128683" y="185833"/>
                      </a:lnTo>
                      <a:lnTo>
                        <a:pt x="128683" y="128683"/>
                      </a:lnTo>
                      <a:lnTo>
                        <a:pt x="185928" y="128683"/>
                      </a:lnTo>
                      <a:close/>
                    </a:path>
                  </a:pathLst>
                </a:custGeom>
                <a:solidFill>
                  <a:srgbClr val="56C7A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11" name="图形 278"/>
            <p:cNvGrpSpPr/>
            <p:nvPr userDrawn="1"/>
          </p:nvGrpSpPr>
          <p:grpSpPr>
            <a:xfrm>
              <a:off x="6905747" y="462258"/>
              <a:ext cx="2255652" cy="5675017"/>
              <a:chOff x="5969009" y="3056205"/>
              <a:chExt cx="1624156" cy="4086230"/>
            </a:xfrm>
            <a:solidFill>
              <a:schemeClr val="accent1"/>
            </a:solidFill>
          </p:grpSpPr>
          <p:sp>
            <p:nvSpPr>
              <p:cNvPr id="12" name="íş1iḓé"/>
              <p:cNvSpPr/>
              <p:nvPr/>
            </p:nvSpPr>
            <p:spPr>
              <a:xfrm>
                <a:off x="6149357" y="5977623"/>
                <a:ext cx="1244250" cy="1164621"/>
              </a:xfrm>
              <a:custGeom>
                <a:avLst/>
                <a:gdLst>
                  <a:gd name="connsiteX0" fmla="*/ 0 w 1244250"/>
                  <a:gd name="connsiteY0" fmla="*/ 1164622 h 1164621"/>
                  <a:gd name="connsiteX1" fmla="*/ 1244251 w 1244250"/>
                  <a:gd name="connsiteY1" fmla="*/ 1158716 h 1164621"/>
                  <a:gd name="connsiteX2" fmla="*/ 1238822 w 1244250"/>
                  <a:gd name="connsiteY2" fmla="*/ 0 h 1164621"/>
                  <a:gd name="connsiteX3" fmla="*/ 135921 w 1244250"/>
                  <a:gd name="connsiteY3" fmla="*/ 5239 h 11646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44250" h="1164621">
                    <a:moveTo>
                      <a:pt x="0" y="1164622"/>
                    </a:moveTo>
                    <a:lnTo>
                      <a:pt x="1244251" y="1158716"/>
                    </a:lnTo>
                    <a:lnTo>
                      <a:pt x="1238822" y="0"/>
                    </a:lnTo>
                    <a:lnTo>
                      <a:pt x="135921" y="5239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4" name="íṡ1iḋè"/>
              <p:cNvSpPr/>
              <p:nvPr/>
            </p:nvSpPr>
            <p:spPr>
              <a:xfrm>
                <a:off x="6295374" y="3889545"/>
                <a:ext cx="961632" cy="1880528"/>
              </a:xfrm>
              <a:custGeom>
                <a:avLst/>
                <a:gdLst>
                  <a:gd name="connsiteX0" fmla="*/ 957263 w 961632"/>
                  <a:gd name="connsiteY0" fmla="*/ 1876052 h 1880528"/>
                  <a:gd name="connsiteX1" fmla="*/ 935355 w 961632"/>
                  <a:gd name="connsiteY1" fmla="*/ 883737 h 1880528"/>
                  <a:gd name="connsiteX2" fmla="*/ 510159 w 961632"/>
                  <a:gd name="connsiteY2" fmla="*/ 7 h 1880528"/>
                  <a:gd name="connsiteX3" fmla="*/ 39338 w 961632"/>
                  <a:gd name="connsiteY3" fmla="*/ 532550 h 1880528"/>
                  <a:gd name="connsiteX4" fmla="*/ 0 w 961632"/>
                  <a:gd name="connsiteY4" fmla="*/ 1880528 h 1880528"/>
                  <a:gd name="connsiteX5" fmla="*/ 957263 w 961632"/>
                  <a:gd name="connsiteY5" fmla="*/ 1876052 h 18805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61632" h="1880528">
                    <a:moveTo>
                      <a:pt x="957263" y="1876052"/>
                    </a:moveTo>
                    <a:lnTo>
                      <a:pt x="935355" y="883737"/>
                    </a:lnTo>
                    <a:cubicBezTo>
                      <a:pt x="935355" y="883737"/>
                      <a:pt x="1120045" y="-2945"/>
                      <a:pt x="510159" y="7"/>
                    </a:cubicBezTo>
                    <a:cubicBezTo>
                      <a:pt x="204311" y="1436"/>
                      <a:pt x="24384" y="151836"/>
                      <a:pt x="39338" y="532550"/>
                    </a:cubicBezTo>
                    <a:cubicBezTo>
                      <a:pt x="56102" y="960127"/>
                      <a:pt x="0" y="1880528"/>
                      <a:pt x="0" y="1880528"/>
                    </a:cubicBezTo>
                    <a:lnTo>
                      <a:pt x="957263" y="1876052"/>
                    </a:lnTo>
                    <a:close/>
                  </a:path>
                </a:pathLst>
              </a:custGeom>
              <a:solidFill>
                <a:srgbClr val="4870C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6" name="ísľiḍê"/>
              <p:cNvSpPr/>
              <p:nvPr/>
            </p:nvSpPr>
            <p:spPr>
              <a:xfrm>
                <a:off x="5969009" y="3917842"/>
                <a:ext cx="610211" cy="2025205"/>
              </a:xfrm>
              <a:custGeom>
                <a:avLst/>
                <a:gdLst>
                  <a:gd name="connsiteX0" fmla="*/ 607353 w 610211"/>
                  <a:gd name="connsiteY0" fmla="*/ 0 h 2025205"/>
                  <a:gd name="connsiteX1" fmla="*/ 40 w 610211"/>
                  <a:gd name="connsiteY1" fmla="*/ 1294733 h 2025205"/>
                  <a:gd name="connsiteX2" fmla="*/ 371038 w 610211"/>
                  <a:gd name="connsiteY2" fmla="*/ 2025205 h 2025205"/>
                  <a:gd name="connsiteX3" fmla="*/ 515056 w 610211"/>
                  <a:gd name="connsiteY3" fmla="*/ 1879854 h 2025205"/>
                  <a:gd name="connsiteX4" fmla="*/ 610211 w 610211"/>
                  <a:gd name="connsiteY4" fmla="*/ 596456 h 2025205"/>
                  <a:gd name="connsiteX5" fmla="*/ 607353 w 610211"/>
                  <a:gd name="connsiteY5" fmla="*/ 0 h 2025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0211" h="2025205">
                    <a:moveTo>
                      <a:pt x="607353" y="0"/>
                    </a:moveTo>
                    <a:cubicBezTo>
                      <a:pt x="607353" y="0"/>
                      <a:pt x="-5676" y="83248"/>
                      <a:pt x="40" y="1294733"/>
                    </a:cubicBezTo>
                    <a:cubicBezTo>
                      <a:pt x="2230" y="1754886"/>
                      <a:pt x="371038" y="2025205"/>
                      <a:pt x="371038" y="2025205"/>
                    </a:cubicBezTo>
                    <a:lnTo>
                      <a:pt x="515056" y="1879854"/>
                    </a:lnTo>
                    <a:cubicBezTo>
                      <a:pt x="515056" y="1879854"/>
                      <a:pt x="-74446" y="1287590"/>
                      <a:pt x="610211" y="596456"/>
                    </a:cubicBezTo>
                    <a:lnTo>
                      <a:pt x="607353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17" name="î$ľiḓe"/>
              <p:cNvSpPr/>
              <p:nvPr/>
            </p:nvSpPr>
            <p:spPr>
              <a:xfrm>
                <a:off x="6973650" y="3916032"/>
                <a:ext cx="619515" cy="2022919"/>
              </a:xfrm>
              <a:custGeom>
                <a:avLst/>
                <a:gdLst>
                  <a:gd name="connsiteX0" fmla="*/ 0 w 619515"/>
                  <a:gd name="connsiteY0" fmla="*/ 0 h 2022919"/>
                  <a:gd name="connsiteX1" fmla="*/ 619506 w 619515"/>
                  <a:gd name="connsiteY1" fmla="*/ 1288923 h 2022919"/>
                  <a:gd name="connsiteX2" fmla="*/ 255461 w 619515"/>
                  <a:gd name="connsiteY2" fmla="*/ 2022920 h 2022919"/>
                  <a:gd name="connsiteX3" fmla="*/ 110109 w 619515"/>
                  <a:gd name="connsiteY3" fmla="*/ 1878902 h 2022919"/>
                  <a:gd name="connsiteX4" fmla="*/ 2857 w 619515"/>
                  <a:gd name="connsiteY4" fmla="*/ 596456 h 2022919"/>
                  <a:gd name="connsiteX5" fmla="*/ 0 w 619515"/>
                  <a:gd name="connsiteY5" fmla="*/ 0 h 2022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19515" h="2022919">
                    <a:moveTo>
                      <a:pt x="0" y="0"/>
                    </a:moveTo>
                    <a:cubicBezTo>
                      <a:pt x="0" y="0"/>
                      <a:pt x="613791" y="77438"/>
                      <a:pt x="619506" y="1288923"/>
                    </a:cubicBezTo>
                    <a:cubicBezTo>
                      <a:pt x="621697" y="1749076"/>
                      <a:pt x="255461" y="2022920"/>
                      <a:pt x="255461" y="2022920"/>
                    </a:cubicBezTo>
                    <a:lnTo>
                      <a:pt x="110109" y="1878902"/>
                    </a:lnTo>
                    <a:cubicBezTo>
                      <a:pt x="110109" y="1878902"/>
                      <a:pt x="693896" y="1281017"/>
                      <a:pt x="2857" y="596456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18" name="图形 278"/>
              <p:cNvGrpSpPr/>
              <p:nvPr/>
            </p:nvGrpSpPr>
            <p:grpSpPr>
              <a:xfrm>
                <a:off x="6560928" y="3892696"/>
                <a:ext cx="444443" cy="868046"/>
                <a:chOff x="6560928" y="3892696"/>
                <a:chExt cx="444443" cy="868046"/>
              </a:xfrm>
              <a:solidFill>
                <a:schemeClr val="accent1"/>
              </a:solidFill>
            </p:grpSpPr>
            <p:sp>
              <p:nvSpPr>
                <p:cNvPr id="54" name="í$lîḑê"/>
                <p:cNvSpPr/>
                <p:nvPr/>
              </p:nvSpPr>
              <p:spPr>
                <a:xfrm>
                  <a:off x="6560928" y="3892696"/>
                  <a:ext cx="444443" cy="699135"/>
                </a:xfrm>
                <a:custGeom>
                  <a:avLst/>
                  <a:gdLst>
                    <a:gd name="connsiteX0" fmla="*/ 220031 w 444443"/>
                    <a:gd name="connsiteY0" fmla="*/ 0 h 699135"/>
                    <a:gd name="connsiteX1" fmla="*/ 220031 w 444443"/>
                    <a:gd name="connsiteY1" fmla="*/ 0 h 699135"/>
                    <a:gd name="connsiteX2" fmla="*/ 3 w 444443"/>
                    <a:gd name="connsiteY2" fmla="*/ 202597 h 699135"/>
                    <a:gd name="connsiteX3" fmla="*/ 225746 w 444443"/>
                    <a:gd name="connsiteY3" fmla="*/ 699135 h 699135"/>
                    <a:gd name="connsiteX4" fmla="*/ 444440 w 444443"/>
                    <a:gd name="connsiteY4" fmla="*/ 200501 h 699135"/>
                    <a:gd name="connsiteX5" fmla="*/ 220031 w 444443"/>
                    <a:gd name="connsiteY5" fmla="*/ 0 h 6991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44443" h="699135">
                      <a:moveTo>
                        <a:pt x="220031" y="0"/>
                      </a:moveTo>
                      <a:lnTo>
                        <a:pt x="220031" y="0"/>
                      </a:lnTo>
                      <a:cubicBezTo>
                        <a:pt x="196790" y="1143"/>
                        <a:pt x="-949" y="15431"/>
                        <a:pt x="3" y="202597"/>
                      </a:cubicBezTo>
                      <a:cubicBezTo>
                        <a:pt x="861" y="389477"/>
                        <a:pt x="201934" y="671894"/>
                        <a:pt x="225746" y="699135"/>
                      </a:cubicBezTo>
                      <a:cubicBezTo>
                        <a:pt x="249273" y="671703"/>
                        <a:pt x="445297" y="387477"/>
                        <a:pt x="444440" y="200501"/>
                      </a:cubicBezTo>
                      <a:cubicBezTo>
                        <a:pt x="443487" y="13335"/>
                        <a:pt x="243368" y="857"/>
                        <a:pt x="220031" y="0"/>
                      </a:cubicBezTo>
                      <a:close/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išļiḓé"/>
                <p:cNvSpPr/>
                <p:nvPr/>
              </p:nvSpPr>
              <p:spPr>
                <a:xfrm rot="-16317">
                  <a:off x="6662347" y="4612137"/>
                  <a:ext cx="247367" cy="148020"/>
                </a:xfrm>
                <a:custGeom>
                  <a:avLst/>
                  <a:gdLst>
                    <a:gd name="connsiteX0" fmla="*/ 0 w 247367"/>
                    <a:gd name="connsiteY0" fmla="*/ 0 h 148020"/>
                    <a:gd name="connsiteX1" fmla="*/ 247367 w 247367"/>
                    <a:gd name="connsiteY1" fmla="*/ 0 h 148020"/>
                    <a:gd name="connsiteX2" fmla="*/ 247367 w 247367"/>
                    <a:gd name="connsiteY2" fmla="*/ 148020 h 148020"/>
                    <a:gd name="connsiteX3" fmla="*/ 0 w 247367"/>
                    <a:gd name="connsiteY3" fmla="*/ 148020 h 1480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7367" h="148020">
                      <a:moveTo>
                        <a:pt x="0" y="0"/>
                      </a:moveTo>
                      <a:lnTo>
                        <a:pt x="247367" y="0"/>
                      </a:lnTo>
                      <a:lnTo>
                        <a:pt x="247367" y="148020"/>
                      </a:lnTo>
                      <a:lnTo>
                        <a:pt x="0" y="14802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6" name="ïsḷide"/>
                <p:cNvSpPr/>
                <p:nvPr/>
              </p:nvSpPr>
              <p:spPr>
                <a:xfrm>
                  <a:off x="6786674" y="4591831"/>
                  <a:ext cx="190" cy="40481"/>
                </a:xfrm>
                <a:custGeom>
                  <a:avLst/>
                  <a:gdLst>
                    <a:gd name="connsiteX0" fmla="*/ 0 w 190"/>
                    <a:gd name="connsiteY0" fmla="*/ 0 h 40481"/>
                    <a:gd name="connsiteX1" fmla="*/ 191 w 190"/>
                    <a:gd name="connsiteY1" fmla="*/ 40481 h 404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90" h="40481">
                      <a:moveTo>
                        <a:pt x="0" y="0"/>
                      </a:moveTo>
                      <a:lnTo>
                        <a:pt x="191" y="40481"/>
                      </a:lnTo>
                    </a:path>
                  </a:pathLst>
                </a:custGeom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ïSḷíďè"/>
                <p:cNvSpPr/>
                <p:nvPr/>
              </p:nvSpPr>
              <p:spPr>
                <a:xfrm rot="-16317">
                  <a:off x="6689780" y="4651570"/>
                  <a:ext cx="56198" cy="56198"/>
                </a:xfrm>
                <a:custGeom>
                  <a:avLst/>
                  <a:gdLst>
                    <a:gd name="connsiteX0" fmla="*/ 0 w 56198"/>
                    <a:gd name="connsiteY0" fmla="*/ 0 h 56198"/>
                    <a:gd name="connsiteX1" fmla="*/ 56198 w 56198"/>
                    <a:gd name="connsiteY1" fmla="*/ 0 h 56198"/>
                    <a:gd name="connsiteX2" fmla="*/ 56198 w 56198"/>
                    <a:gd name="connsiteY2" fmla="*/ 56198 h 56198"/>
                    <a:gd name="connsiteX3" fmla="*/ 0 w 56198"/>
                    <a:gd name="connsiteY3" fmla="*/ 56198 h 5619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8" h="56198">
                      <a:moveTo>
                        <a:pt x="0" y="0"/>
                      </a:moveTo>
                      <a:lnTo>
                        <a:pt x="56198" y="0"/>
                      </a:lnTo>
                      <a:lnTo>
                        <a:pt x="56198" y="56198"/>
                      </a:lnTo>
                      <a:lnTo>
                        <a:pt x="0" y="56198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8" name="í$lîḓe"/>
                <p:cNvSpPr/>
                <p:nvPr/>
              </p:nvSpPr>
              <p:spPr>
                <a:xfrm rot="-16317">
                  <a:off x="6774362" y="4650999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i$1ïḓè"/>
                <p:cNvSpPr/>
                <p:nvPr/>
              </p:nvSpPr>
              <p:spPr>
                <a:xfrm rot="-16317">
                  <a:off x="6774458" y="4674527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0" name="íŝḻíďè"/>
                <p:cNvSpPr/>
                <p:nvPr/>
              </p:nvSpPr>
              <p:spPr>
                <a:xfrm rot="-16317">
                  <a:off x="6774553" y="4698053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7 w 116396"/>
                    <a:gd name="connsiteY1" fmla="*/ 0 h 9144"/>
                    <a:gd name="connsiteX2" fmla="*/ 116397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7" y="0"/>
                      </a:lnTo>
                      <a:lnTo>
                        <a:pt x="116397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ïṡľîḍè"/>
                <p:cNvSpPr/>
                <p:nvPr/>
              </p:nvSpPr>
              <p:spPr>
                <a:xfrm rot="-16317">
                  <a:off x="6774743" y="4721485"/>
                  <a:ext cx="116396" cy="9144"/>
                </a:xfrm>
                <a:custGeom>
                  <a:avLst/>
                  <a:gdLst>
                    <a:gd name="connsiteX0" fmla="*/ 0 w 116396"/>
                    <a:gd name="connsiteY0" fmla="*/ 0 h 9144"/>
                    <a:gd name="connsiteX1" fmla="*/ 116396 w 116396"/>
                    <a:gd name="connsiteY1" fmla="*/ 0 h 9144"/>
                    <a:gd name="connsiteX2" fmla="*/ 116396 w 116396"/>
                    <a:gd name="connsiteY2" fmla="*/ 9144 h 9144"/>
                    <a:gd name="connsiteX3" fmla="*/ 0 w 116396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6396" h="9144">
                      <a:moveTo>
                        <a:pt x="0" y="0"/>
                      </a:moveTo>
                      <a:lnTo>
                        <a:pt x="116396" y="0"/>
                      </a:lnTo>
                      <a:lnTo>
                        <a:pt x="116396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EF4F2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2" name="íṡlíḍé"/>
                <p:cNvSpPr/>
                <p:nvPr/>
              </p:nvSpPr>
              <p:spPr>
                <a:xfrm rot="-16317">
                  <a:off x="6689969" y="4722056"/>
                  <a:ext cx="56198" cy="9144"/>
                </a:xfrm>
                <a:custGeom>
                  <a:avLst/>
                  <a:gdLst>
                    <a:gd name="connsiteX0" fmla="*/ 0 w 56198"/>
                    <a:gd name="connsiteY0" fmla="*/ 0 h 9144"/>
                    <a:gd name="connsiteX1" fmla="*/ 56199 w 56198"/>
                    <a:gd name="connsiteY1" fmla="*/ 0 h 9144"/>
                    <a:gd name="connsiteX2" fmla="*/ 56199 w 56198"/>
                    <a:gd name="connsiteY2" fmla="*/ 9144 h 9144"/>
                    <a:gd name="connsiteX3" fmla="*/ 0 w 56198"/>
                    <a:gd name="connsiteY3" fmla="*/ 9144 h 91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6198" h="9144">
                      <a:moveTo>
                        <a:pt x="0" y="0"/>
                      </a:moveTo>
                      <a:lnTo>
                        <a:pt x="56199" y="0"/>
                      </a:lnTo>
                      <a:lnTo>
                        <a:pt x="56199" y="9144"/>
                      </a:lnTo>
                      <a:lnTo>
                        <a:pt x="0" y="9144"/>
                      </a:lnTo>
                      <a:close/>
                    </a:path>
                  </a:pathLst>
                </a:custGeom>
                <a:solidFill>
                  <a:srgbClr val="FCDFD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19" name="íşlïdè"/>
              <p:cNvSpPr/>
              <p:nvPr/>
            </p:nvSpPr>
            <p:spPr>
              <a:xfrm>
                <a:off x="6105446" y="3912603"/>
                <a:ext cx="512350" cy="3229832"/>
              </a:xfrm>
              <a:custGeom>
                <a:avLst/>
                <a:gdLst>
                  <a:gd name="connsiteX0" fmla="*/ 497110 w 512350"/>
                  <a:gd name="connsiteY0" fmla="*/ 0 h 3229832"/>
                  <a:gd name="connsiteX1" fmla="*/ 512350 w 512350"/>
                  <a:gd name="connsiteY1" fmla="*/ 3227451 h 3229832"/>
                  <a:gd name="connsiteX2" fmla="*/ 0 w 512350"/>
                  <a:gd name="connsiteY2" fmla="*/ 3229832 h 3229832"/>
                  <a:gd name="connsiteX3" fmla="*/ 242602 w 512350"/>
                  <a:gd name="connsiteY3" fmla="*/ 352996 h 3229832"/>
                  <a:gd name="connsiteX4" fmla="*/ 470916 w 512350"/>
                  <a:gd name="connsiteY4" fmla="*/ 5239 h 3229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2350" h="3229832">
                    <a:moveTo>
                      <a:pt x="497110" y="0"/>
                    </a:moveTo>
                    <a:lnTo>
                      <a:pt x="512350" y="3227451"/>
                    </a:lnTo>
                    <a:lnTo>
                      <a:pt x="0" y="3229832"/>
                    </a:lnTo>
                    <a:lnTo>
                      <a:pt x="242602" y="352996"/>
                    </a:lnTo>
                    <a:lnTo>
                      <a:pt x="470916" y="5239"/>
                    </a:lnTo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0" name="îṣ1íďé"/>
              <p:cNvSpPr/>
              <p:nvPr/>
            </p:nvSpPr>
            <p:spPr>
              <a:xfrm>
                <a:off x="6947837" y="3916032"/>
                <a:ext cx="615696" cy="3222402"/>
              </a:xfrm>
              <a:custGeom>
                <a:avLst/>
                <a:gdLst>
                  <a:gd name="connsiteX0" fmla="*/ 25813 w 615696"/>
                  <a:gd name="connsiteY0" fmla="*/ 0 h 3222402"/>
                  <a:gd name="connsiteX1" fmla="*/ 0 w 615696"/>
                  <a:gd name="connsiteY1" fmla="*/ 3222403 h 3222402"/>
                  <a:gd name="connsiteX2" fmla="*/ 615696 w 615696"/>
                  <a:gd name="connsiteY2" fmla="*/ 3219545 h 3222402"/>
                  <a:gd name="connsiteX3" fmla="*/ 345853 w 615696"/>
                  <a:gd name="connsiteY3" fmla="*/ 345091 h 3222402"/>
                  <a:gd name="connsiteX4" fmla="*/ 25813 w 615696"/>
                  <a:gd name="connsiteY4" fmla="*/ 0 h 32224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5696" h="3222402">
                    <a:moveTo>
                      <a:pt x="25813" y="0"/>
                    </a:moveTo>
                    <a:lnTo>
                      <a:pt x="0" y="3222403"/>
                    </a:lnTo>
                    <a:lnTo>
                      <a:pt x="615696" y="3219545"/>
                    </a:lnTo>
                    <a:lnTo>
                      <a:pt x="345853" y="345091"/>
                    </a:lnTo>
                    <a:lnTo>
                      <a:pt x="25813" y="0"/>
                    </a:lnTo>
                  </a:path>
                </a:pathLst>
              </a:custGeom>
              <a:solidFill>
                <a:srgbClr val="FEF4F2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1" name="îṧlíďè"/>
              <p:cNvSpPr/>
              <p:nvPr/>
            </p:nvSpPr>
            <p:spPr>
              <a:xfrm>
                <a:off x="6509687" y="3872789"/>
                <a:ext cx="134016" cy="1725549"/>
              </a:xfrm>
              <a:custGeom>
                <a:avLst/>
                <a:gdLst>
                  <a:gd name="connsiteX0" fmla="*/ 100870 w 134016"/>
                  <a:gd name="connsiteY0" fmla="*/ 1725549 h 1725549"/>
                  <a:gd name="connsiteX1" fmla="*/ 0 w 134016"/>
                  <a:gd name="connsiteY1" fmla="*/ 64579 h 1725549"/>
                  <a:gd name="connsiteX2" fmla="*/ 134017 w 134016"/>
                  <a:gd name="connsiteY2" fmla="*/ 0 h 1725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4016" h="1725549">
                    <a:moveTo>
                      <a:pt x="100870" y="1725549"/>
                    </a:moveTo>
                    <a:lnTo>
                      <a:pt x="0" y="64579"/>
                    </a:lnTo>
                    <a:lnTo>
                      <a:pt x="134017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2" name="iṣ1íḍé"/>
              <p:cNvSpPr/>
              <p:nvPr/>
            </p:nvSpPr>
            <p:spPr>
              <a:xfrm>
                <a:off x="7084036" y="4816526"/>
                <a:ext cx="227024" cy="248127"/>
              </a:xfrm>
              <a:custGeom>
                <a:avLst/>
                <a:gdLst>
                  <a:gd name="connsiteX0" fmla="*/ 9 w 227024"/>
                  <a:gd name="connsiteY0" fmla="*/ 1048 h 248127"/>
                  <a:gd name="connsiteX1" fmla="*/ 226799 w 227024"/>
                  <a:gd name="connsiteY1" fmla="*/ 0 h 248127"/>
                  <a:gd name="connsiteX2" fmla="*/ 116976 w 227024"/>
                  <a:gd name="connsiteY2" fmla="*/ 248126 h 248127"/>
                  <a:gd name="connsiteX3" fmla="*/ 9 w 227024"/>
                  <a:gd name="connsiteY3" fmla="*/ 1048 h 248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7024" h="248127">
                    <a:moveTo>
                      <a:pt x="9" y="1048"/>
                    </a:moveTo>
                    <a:lnTo>
                      <a:pt x="226799" y="0"/>
                    </a:lnTo>
                    <a:cubicBezTo>
                      <a:pt x="226799" y="0"/>
                      <a:pt x="237181" y="247555"/>
                      <a:pt x="116976" y="248126"/>
                    </a:cubicBezTo>
                    <a:cubicBezTo>
                      <a:pt x="-3325" y="248698"/>
                      <a:pt x="9" y="1048"/>
                      <a:pt x="9" y="1048"/>
                    </a:cubicBez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3" name="išḻïḋè"/>
              <p:cNvSpPr/>
              <p:nvPr/>
            </p:nvSpPr>
            <p:spPr>
              <a:xfrm>
                <a:off x="6925740" y="3859168"/>
                <a:ext cx="140779" cy="1727454"/>
              </a:xfrm>
              <a:custGeom>
                <a:avLst/>
                <a:gdLst>
                  <a:gd name="connsiteX0" fmla="*/ 34575 w 140779"/>
                  <a:gd name="connsiteY0" fmla="*/ 1727454 h 1727454"/>
                  <a:gd name="connsiteX1" fmla="*/ 140779 w 140779"/>
                  <a:gd name="connsiteY1" fmla="*/ 85439 h 1727454"/>
                  <a:gd name="connsiteX2" fmla="*/ 0 w 140779"/>
                  <a:gd name="connsiteY2" fmla="*/ 0 h 17274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0779" h="1727454">
                    <a:moveTo>
                      <a:pt x="34575" y="1727454"/>
                    </a:moveTo>
                    <a:lnTo>
                      <a:pt x="140779" y="8543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24" name="图形 278"/>
              <p:cNvGrpSpPr/>
              <p:nvPr/>
            </p:nvGrpSpPr>
            <p:grpSpPr>
              <a:xfrm>
                <a:off x="6341761" y="3840019"/>
                <a:ext cx="807911" cy="739620"/>
                <a:chOff x="6341761" y="3840019"/>
                <a:chExt cx="807911" cy="739620"/>
              </a:xfrm>
              <a:solidFill>
                <a:schemeClr val="accent1"/>
              </a:solidFill>
            </p:grpSpPr>
            <p:sp>
              <p:nvSpPr>
                <p:cNvPr id="48" name="ïŝḻíḑê"/>
                <p:cNvSpPr/>
                <p:nvPr/>
              </p:nvSpPr>
              <p:spPr>
                <a:xfrm>
                  <a:off x="6362145" y="4110363"/>
                  <a:ext cx="180428" cy="449022"/>
                </a:xfrm>
                <a:custGeom>
                  <a:avLst/>
                  <a:gdLst>
                    <a:gd name="connsiteX0" fmla="*/ 172879 w 180428"/>
                    <a:gd name="connsiteY0" fmla="*/ 447750 h 449022"/>
                    <a:gd name="connsiteX1" fmla="*/ 79439 w 180428"/>
                    <a:gd name="connsiteY1" fmla="*/ 137425 h 449022"/>
                    <a:gd name="connsiteX2" fmla="*/ 148590 w 180428"/>
                    <a:gd name="connsiteY2" fmla="*/ 741 h 449022"/>
                    <a:gd name="connsiteX3" fmla="*/ 171545 w 180428"/>
                    <a:gd name="connsiteY3" fmla="*/ 154475 h 449022"/>
                    <a:gd name="connsiteX4" fmla="*/ 0 w 180428"/>
                    <a:gd name="connsiteY4" fmla="*/ 429462 h 4490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428" h="449022">
                      <a:moveTo>
                        <a:pt x="172879" y="447750"/>
                      </a:moveTo>
                      <a:cubicBezTo>
                        <a:pt x="172879" y="447750"/>
                        <a:pt x="46197" y="486421"/>
                        <a:pt x="79439" y="137425"/>
                      </a:cubicBezTo>
                      <a:cubicBezTo>
                        <a:pt x="79439" y="137425"/>
                        <a:pt x="94583" y="-11736"/>
                        <a:pt x="148590" y="741"/>
                      </a:cubicBezTo>
                      <a:cubicBezTo>
                        <a:pt x="202597" y="13124"/>
                        <a:pt x="171545" y="154475"/>
                        <a:pt x="171545" y="154475"/>
                      </a:cubicBezTo>
                      <a:cubicBezTo>
                        <a:pt x="112014" y="499947"/>
                        <a:pt x="0" y="429462"/>
                        <a:pt x="0" y="429462"/>
                      </a:cubicBezTo>
                    </a:path>
                  </a:pathLst>
                </a:custGeom>
                <a:noFill/>
                <a:ln w="14779" cap="flat">
                  <a:solidFill>
                    <a:srgbClr val="E95F5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iṥļîḓè"/>
                <p:cNvSpPr/>
                <p:nvPr/>
              </p:nvSpPr>
              <p:spPr>
                <a:xfrm>
                  <a:off x="6510474" y="3840019"/>
                  <a:ext cx="588239" cy="550453"/>
                </a:xfrm>
                <a:custGeom>
                  <a:avLst/>
                  <a:gdLst>
                    <a:gd name="connsiteX0" fmla="*/ 261 w 588239"/>
                    <a:gd name="connsiteY0" fmla="*/ 270990 h 550453"/>
                    <a:gd name="connsiteX1" fmla="*/ 297060 w 588239"/>
                    <a:gd name="connsiteY1" fmla="*/ 4 h 550453"/>
                    <a:gd name="connsiteX2" fmla="*/ 588239 w 588239"/>
                    <a:gd name="connsiteY2" fmla="*/ 550454 h 550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588239" h="550453">
                      <a:moveTo>
                        <a:pt x="261" y="270990"/>
                      </a:moveTo>
                      <a:cubicBezTo>
                        <a:pt x="261" y="270990"/>
                        <a:pt x="-20027" y="1528"/>
                        <a:pt x="297060" y="4"/>
                      </a:cubicBezTo>
                      <a:cubicBezTo>
                        <a:pt x="614147" y="-1520"/>
                        <a:pt x="508324" y="414437"/>
                        <a:pt x="588239" y="550454"/>
                      </a:cubicBezTo>
                    </a:path>
                  </a:pathLst>
                </a:custGeom>
                <a:noFill/>
                <a:ln w="14779" cap="flat">
                  <a:solidFill>
                    <a:srgbClr val="E95F5C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0" name="íṩľîdé"/>
                <p:cNvSpPr/>
                <p:nvPr/>
              </p:nvSpPr>
              <p:spPr>
                <a:xfrm>
                  <a:off x="6341761" y="4519346"/>
                  <a:ext cx="40767" cy="40766"/>
                </a:xfrm>
                <a:custGeom>
                  <a:avLst/>
                  <a:gdLst>
                    <a:gd name="connsiteX0" fmla="*/ 1 w 40767"/>
                    <a:gd name="connsiteY0" fmla="*/ 20479 h 40766"/>
                    <a:gd name="connsiteX1" fmla="*/ 20479 w 40767"/>
                    <a:gd name="connsiteY1" fmla="*/ 40767 h 40766"/>
                    <a:gd name="connsiteX2" fmla="*/ 40767 w 40767"/>
                    <a:gd name="connsiteY2" fmla="*/ 20288 h 40766"/>
                    <a:gd name="connsiteX3" fmla="*/ 20288 w 40767"/>
                    <a:gd name="connsiteY3" fmla="*/ 0 h 40766"/>
                    <a:gd name="connsiteX4" fmla="*/ 1 w 40767"/>
                    <a:gd name="connsiteY4" fmla="*/ 20479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7" h="40766">
                      <a:moveTo>
                        <a:pt x="1" y="20479"/>
                      </a:moveTo>
                      <a:cubicBezTo>
                        <a:pt x="96" y="31718"/>
                        <a:pt x="9240" y="40767"/>
                        <a:pt x="20479" y="40767"/>
                      </a:cubicBezTo>
                      <a:cubicBezTo>
                        <a:pt x="31719" y="40672"/>
                        <a:pt x="40767" y="31528"/>
                        <a:pt x="40767" y="20288"/>
                      </a:cubicBezTo>
                      <a:cubicBezTo>
                        <a:pt x="40672" y="9049"/>
                        <a:pt x="31528" y="0"/>
                        <a:pt x="20288" y="0"/>
                      </a:cubicBezTo>
                      <a:cubicBezTo>
                        <a:pt x="8954" y="95"/>
                        <a:pt x="-95" y="9334"/>
                        <a:pt x="1" y="20479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işļïḋê"/>
                <p:cNvSpPr/>
                <p:nvPr/>
              </p:nvSpPr>
              <p:spPr>
                <a:xfrm>
                  <a:off x="7047659" y="4339513"/>
                  <a:ext cx="102013" cy="102015"/>
                </a:xfrm>
                <a:custGeom>
                  <a:avLst/>
                  <a:gdLst>
                    <a:gd name="connsiteX0" fmla="*/ 0 w 102013"/>
                    <a:gd name="connsiteY0" fmla="*/ 51246 h 102015"/>
                    <a:gd name="connsiteX1" fmla="*/ 51245 w 102013"/>
                    <a:gd name="connsiteY1" fmla="*/ 102014 h 102015"/>
                    <a:gd name="connsiteX2" fmla="*/ 102013 w 102013"/>
                    <a:gd name="connsiteY2" fmla="*/ 50769 h 102015"/>
                    <a:gd name="connsiteX3" fmla="*/ 50768 w 102013"/>
                    <a:gd name="connsiteY3" fmla="*/ 1 h 102015"/>
                    <a:gd name="connsiteX4" fmla="*/ 0 w 102013"/>
                    <a:gd name="connsiteY4" fmla="*/ 51246 h 1020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2013" h="102015">
                      <a:moveTo>
                        <a:pt x="0" y="51246"/>
                      </a:moveTo>
                      <a:cubicBezTo>
                        <a:pt x="96" y="79440"/>
                        <a:pt x="23051" y="102205"/>
                        <a:pt x="51245" y="102014"/>
                      </a:cubicBezTo>
                      <a:cubicBezTo>
                        <a:pt x="79438" y="101919"/>
                        <a:pt x="102203" y="78964"/>
                        <a:pt x="102013" y="50769"/>
                      </a:cubicBezTo>
                      <a:cubicBezTo>
                        <a:pt x="101918" y="22576"/>
                        <a:pt x="78962" y="-189"/>
                        <a:pt x="50768" y="1"/>
                      </a:cubicBezTo>
                      <a:cubicBezTo>
                        <a:pt x="22670" y="97"/>
                        <a:pt x="-95" y="23052"/>
                        <a:pt x="0" y="51246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2" name="îsľîḑè"/>
                <p:cNvSpPr/>
                <p:nvPr/>
              </p:nvSpPr>
              <p:spPr>
                <a:xfrm>
                  <a:off x="7072043" y="4363802"/>
                  <a:ext cx="53436" cy="53436"/>
                </a:xfrm>
                <a:custGeom>
                  <a:avLst/>
                  <a:gdLst>
                    <a:gd name="connsiteX0" fmla="*/ 1 w 53436"/>
                    <a:gd name="connsiteY0" fmla="*/ 26861 h 53436"/>
                    <a:gd name="connsiteX1" fmla="*/ 26861 w 53436"/>
                    <a:gd name="connsiteY1" fmla="*/ 53436 h 53436"/>
                    <a:gd name="connsiteX2" fmla="*/ 53436 w 53436"/>
                    <a:gd name="connsiteY2" fmla="*/ 26575 h 53436"/>
                    <a:gd name="connsiteX3" fmla="*/ 26575 w 53436"/>
                    <a:gd name="connsiteY3" fmla="*/ 1 h 53436"/>
                    <a:gd name="connsiteX4" fmla="*/ 1 w 53436"/>
                    <a:gd name="connsiteY4" fmla="*/ 26861 h 53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53436" h="53436">
                      <a:moveTo>
                        <a:pt x="1" y="26861"/>
                      </a:moveTo>
                      <a:cubicBezTo>
                        <a:pt x="96" y="41625"/>
                        <a:pt x="12097" y="53531"/>
                        <a:pt x="26861" y="53436"/>
                      </a:cubicBezTo>
                      <a:cubicBezTo>
                        <a:pt x="41625" y="53341"/>
                        <a:pt x="53531" y="41339"/>
                        <a:pt x="53436" y="26575"/>
                      </a:cubicBezTo>
                      <a:cubicBezTo>
                        <a:pt x="53340" y="11812"/>
                        <a:pt x="41339" y="-95"/>
                        <a:pt x="26575" y="1"/>
                      </a:cubicBezTo>
                      <a:cubicBezTo>
                        <a:pt x="11811" y="96"/>
                        <a:pt x="-95" y="12097"/>
                        <a:pt x="1" y="26861"/>
                      </a:cubicBezTo>
                      <a:close/>
                    </a:path>
                  </a:pathLst>
                </a:custGeom>
                <a:solidFill>
                  <a:srgbClr val="E8E7E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íṣľîḍè"/>
                <p:cNvSpPr/>
                <p:nvPr/>
              </p:nvSpPr>
              <p:spPr>
                <a:xfrm>
                  <a:off x="6517497" y="4538872"/>
                  <a:ext cx="40768" cy="40766"/>
                </a:xfrm>
                <a:custGeom>
                  <a:avLst/>
                  <a:gdLst>
                    <a:gd name="connsiteX0" fmla="*/ 1 w 40768"/>
                    <a:gd name="connsiteY0" fmla="*/ 20479 h 40766"/>
                    <a:gd name="connsiteX1" fmla="*/ 20480 w 40768"/>
                    <a:gd name="connsiteY1" fmla="*/ 40767 h 40766"/>
                    <a:gd name="connsiteX2" fmla="*/ 40768 w 40768"/>
                    <a:gd name="connsiteY2" fmla="*/ 20288 h 40766"/>
                    <a:gd name="connsiteX3" fmla="*/ 20289 w 40768"/>
                    <a:gd name="connsiteY3" fmla="*/ 0 h 40766"/>
                    <a:gd name="connsiteX4" fmla="*/ 1 w 40768"/>
                    <a:gd name="connsiteY4" fmla="*/ 20479 h 407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0768" h="40766">
                      <a:moveTo>
                        <a:pt x="1" y="20479"/>
                      </a:moveTo>
                      <a:cubicBezTo>
                        <a:pt x="96" y="31718"/>
                        <a:pt x="9240" y="40767"/>
                        <a:pt x="20480" y="40767"/>
                      </a:cubicBezTo>
                      <a:cubicBezTo>
                        <a:pt x="31719" y="40672"/>
                        <a:pt x="40768" y="31528"/>
                        <a:pt x="40768" y="20288"/>
                      </a:cubicBezTo>
                      <a:cubicBezTo>
                        <a:pt x="40673" y="9049"/>
                        <a:pt x="31528" y="0"/>
                        <a:pt x="20289" y="0"/>
                      </a:cubicBezTo>
                      <a:cubicBezTo>
                        <a:pt x="8954" y="95"/>
                        <a:pt x="-95" y="9239"/>
                        <a:pt x="1" y="20479"/>
                      </a:cubicBezTo>
                      <a:close/>
                    </a:path>
                  </a:pathLst>
                </a:custGeom>
                <a:solidFill>
                  <a:srgbClr val="263025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25" name="图形 278"/>
              <p:cNvGrpSpPr/>
              <p:nvPr/>
            </p:nvGrpSpPr>
            <p:grpSpPr>
              <a:xfrm>
                <a:off x="6535287" y="3146502"/>
                <a:ext cx="559903" cy="962698"/>
                <a:chOff x="6535287" y="3146502"/>
                <a:chExt cx="559903" cy="962698"/>
              </a:xfrm>
              <a:solidFill>
                <a:schemeClr val="accent1"/>
              </a:solidFill>
            </p:grpSpPr>
            <p:sp>
              <p:nvSpPr>
                <p:cNvPr id="34" name="ïslídè"/>
                <p:cNvSpPr/>
                <p:nvPr/>
              </p:nvSpPr>
              <p:spPr>
                <a:xfrm>
                  <a:off x="6638751" y="3716483"/>
                  <a:ext cx="289847" cy="392717"/>
                </a:xfrm>
                <a:custGeom>
                  <a:avLst/>
                  <a:gdLst>
                    <a:gd name="connsiteX0" fmla="*/ 146209 w 289847"/>
                    <a:gd name="connsiteY0" fmla="*/ 392716 h 392717"/>
                    <a:gd name="connsiteX1" fmla="*/ 146209 w 289847"/>
                    <a:gd name="connsiteY1" fmla="*/ 392716 h 392717"/>
                    <a:gd name="connsiteX2" fmla="*/ 289846 w 289847"/>
                    <a:gd name="connsiteY2" fmla="*/ 247650 h 392717"/>
                    <a:gd name="connsiteX3" fmla="*/ 288703 w 289847"/>
                    <a:gd name="connsiteY3" fmla="*/ 0 h 392717"/>
                    <a:gd name="connsiteX4" fmla="*/ 0 w 289847"/>
                    <a:gd name="connsiteY4" fmla="*/ 1333 h 392717"/>
                    <a:gd name="connsiteX5" fmla="*/ 1143 w 289847"/>
                    <a:gd name="connsiteY5" fmla="*/ 248984 h 392717"/>
                    <a:gd name="connsiteX6" fmla="*/ 146209 w 289847"/>
                    <a:gd name="connsiteY6" fmla="*/ 392716 h 39271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89847" h="392717">
                      <a:moveTo>
                        <a:pt x="146209" y="392716"/>
                      </a:moveTo>
                      <a:lnTo>
                        <a:pt x="146209" y="392716"/>
                      </a:lnTo>
                      <a:cubicBezTo>
                        <a:pt x="225933" y="392335"/>
                        <a:pt x="290226" y="327374"/>
                        <a:pt x="289846" y="247650"/>
                      </a:cubicBezTo>
                      <a:lnTo>
                        <a:pt x="288703" y="0"/>
                      </a:lnTo>
                      <a:lnTo>
                        <a:pt x="0" y="1333"/>
                      </a:lnTo>
                      <a:lnTo>
                        <a:pt x="1143" y="248984"/>
                      </a:lnTo>
                      <a:cubicBezTo>
                        <a:pt x="1524" y="328803"/>
                        <a:pt x="66484" y="393097"/>
                        <a:pt x="146209" y="392716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5" name="îṣḻïde"/>
                <p:cNvSpPr/>
                <p:nvPr/>
              </p:nvSpPr>
              <p:spPr>
                <a:xfrm>
                  <a:off x="6535287" y="3146502"/>
                  <a:ext cx="490278" cy="663710"/>
                </a:xfrm>
                <a:custGeom>
                  <a:avLst/>
                  <a:gdLst>
                    <a:gd name="connsiteX0" fmla="*/ 117 w 490278"/>
                    <a:gd name="connsiteY0" fmla="*/ 377767 h 663710"/>
                    <a:gd name="connsiteX1" fmla="*/ 223098 w 490278"/>
                    <a:gd name="connsiteY1" fmla="*/ 663707 h 663710"/>
                    <a:gd name="connsiteX2" fmla="*/ 490274 w 490278"/>
                    <a:gd name="connsiteY2" fmla="*/ 375385 h 663710"/>
                    <a:gd name="connsiteX3" fmla="*/ 243386 w 490278"/>
                    <a:gd name="connsiteY3" fmla="*/ 5 h 663710"/>
                    <a:gd name="connsiteX4" fmla="*/ 117 w 490278"/>
                    <a:gd name="connsiteY4" fmla="*/ 377767 h 6637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90278" h="663710">
                      <a:moveTo>
                        <a:pt x="117" y="377767"/>
                      </a:moveTo>
                      <a:cubicBezTo>
                        <a:pt x="975" y="561313"/>
                        <a:pt x="87748" y="664374"/>
                        <a:pt x="223098" y="663707"/>
                      </a:cubicBezTo>
                      <a:cubicBezTo>
                        <a:pt x="358448" y="663040"/>
                        <a:pt x="491131" y="558932"/>
                        <a:pt x="490274" y="375385"/>
                      </a:cubicBezTo>
                      <a:cubicBezTo>
                        <a:pt x="489417" y="191839"/>
                        <a:pt x="488464" y="-1138"/>
                        <a:pt x="243386" y="5"/>
                      </a:cubicBezTo>
                      <a:cubicBezTo>
                        <a:pt x="-1692" y="1243"/>
                        <a:pt x="-835" y="194220"/>
                        <a:pt x="117" y="377767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6" name="íṡḷíďè"/>
                <p:cNvSpPr/>
                <p:nvPr/>
              </p:nvSpPr>
              <p:spPr>
                <a:xfrm>
                  <a:off x="6999844" y="3439295"/>
                  <a:ext cx="95347" cy="171651"/>
                </a:xfrm>
                <a:custGeom>
                  <a:avLst/>
                  <a:gdLst>
                    <a:gd name="connsiteX0" fmla="*/ 95345 w 95347"/>
                    <a:gd name="connsiteY0" fmla="*/ 67448 h 171651"/>
                    <a:gd name="connsiteX1" fmla="*/ 762 w 95347"/>
                    <a:gd name="connsiteY1" fmla="*/ 171651 h 171651"/>
                    <a:gd name="connsiteX2" fmla="*/ 0 w 95347"/>
                    <a:gd name="connsiteY2" fmla="*/ 5631 h 171651"/>
                    <a:gd name="connsiteX3" fmla="*/ 95345 w 95347"/>
                    <a:gd name="connsiteY3" fmla="*/ 67448 h 171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5347" h="171651">
                      <a:moveTo>
                        <a:pt x="95345" y="67448"/>
                      </a:moveTo>
                      <a:cubicBezTo>
                        <a:pt x="95822" y="162603"/>
                        <a:pt x="762" y="171651"/>
                        <a:pt x="762" y="171651"/>
                      </a:cubicBezTo>
                      <a:lnTo>
                        <a:pt x="0" y="5631"/>
                      </a:lnTo>
                      <a:cubicBezTo>
                        <a:pt x="-95" y="5631"/>
                        <a:pt x="94869" y="-27612"/>
                        <a:pt x="95345" y="67448"/>
                      </a:cubicBezTo>
                      <a:close/>
                    </a:path>
                  </a:pathLst>
                </a:custGeom>
                <a:solidFill>
                  <a:srgbClr val="F8C6C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7" name="ïsľiďè"/>
                <p:cNvSpPr/>
                <p:nvPr/>
              </p:nvSpPr>
              <p:spPr>
                <a:xfrm>
                  <a:off x="7017275" y="3478921"/>
                  <a:ext cx="45911" cy="92305"/>
                </a:xfrm>
                <a:custGeom>
                  <a:avLst/>
                  <a:gdLst>
                    <a:gd name="connsiteX0" fmla="*/ 45911 w 45911"/>
                    <a:gd name="connsiteY0" fmla="*/ 36299 h 92305"/>
                    <a:gd name="connsiteX1" fmla="*/ 381 w 45911"/>
                    <a:gd name="connsiteY1" fmla="*/ 92306 h 92305"/>
                    <a:gd name="connsiteX2" fmla="*/ 0 w 45911"/>
                    <a:gd name="connsiteY2" fmla="*/ 2961 h 92305"/>
                    <a:gd name="connsiteX3" fmla="*/ 45911 w 45911"/>
                    <a:gd name="connsiteY3" fmla="*/ 36299 h 923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5911" h="92305">
                      <a:moveTo>
                        <a:pt x="45911" y="36299"/>
                      </a:moveTo>
                      <a:cubicBezTo>
                        <a:pt x="46196" y="87448"/>
                        <a:pt x="381" y="92306"/>
                        <a:pt x="381" y="92306"/>
                      </a:cubicBezTo>
                      <a:lnTo>
                        <a:pt x="0" y="2961"/>
                      </a:lnTo>
                      <a:cubicBezTo>
                        <a:pt x="0" y="3057"/>
                        <a:pt x="45720" y="-14850"/>
                        <a:pt x="45911" y="36299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8" name="íṩḻíde"/>
                <p:cNvSpPr/>
                <p:nvPr/>
              </p:nvSpPr>
              <p:spPr>
                <a:xfrm rot="-16317">
                  <a:off x="6838752" y="3438072"/>
                  <a:ext cx="66485" cy="49530"/>
                </a:xfrm>
                <a:custGeom>
                  <a:avLst/>
                  <a:gdLst>
                    <a:gd name="connsiteX0" fmla="*/ 66485 w 66485"/>
                    <a:gd name="connsiteY0" fmla="*/ 24765 h 49530"/>
                    <a:gd name="connsiteX1" fmla="*/ 33243 w 66485"/>
                    <a:gd name="connsiteY1" fmla="*/ 49531 h 49530"/>
                    <a:gd name="connsiteX2" fmla="*/ 0 w 66485"/>
                    <a:gd name="connsiteY2" fmla="*/ 24765 h 49530"/>
                    <a:gd name="connsiteX3" fmla="*/ 33243 w 66485"/>
                    <a:gd name="connsiteY3" fmla="*/ 0 h 49530"/>
                    <a:gd name="connsiteX4" fmla="*/ 66485 w 66485"/>
                    <a:gd name="connsiteY4" fmla="*/ 24765 h 49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485" h="49530">
                      <a:moveTo>
                        <a:pt x="66485" y="24765"/>
                      </a:moveTo>
                      <a:cubicBezTo>
                        <a:pt x="66485" y="38443"/>
                        <a:pt x="51602" y="49531"/>
                        <a:pt x="33243" y="49531"/>
                      </a:cubicBezTo>
                      <a:cubicBezTo>
                        <a:pt x="14883" y="49531"/>
                        <a:pt x="0" y="38443"/>
                        <a:pt x="0" y="24765"/>
                      </a:cubicBezTo>
                      <a:cubicBezTo>
                        <a:pt x="0" y="11088"/>
                        <a:pt x="14883" y="0"/>
                        <a:pt x="33243" y="0"/>
                      </a:cubicBezTo>
                      <a:cubicBezTo>
                        <a:pt x="51602" y="0"/>
                        <a:pt x="66485" y="11088"/>
                        <a:pt x="66485" y="2476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39" name="ïṣ1iďê"/>
                <p:cNvSpPr/>
                <p:nvPr/>
              </p:nvSpPr>
              <p:spPr>
                <a:xfrm>
                  <a:off x="6604270" y="3439210"/>
                  <a:ext cx="66580" cy="49531"/>
                </a:xfrm>
                <a:custGeom>
                  <a:avLst/>
                  <a:gdLst>
                    <a:gd name="connsiteX0" fmla="*/ 66580 w 66580"/>
                    <a:gd name="connsiteY0" fmla="*/ 24575 h 49531"/>
                    <a:gd name="connsiteX1" fmla="*/ 33433 w 66580"/>
                    <a:gd name="connsiteY1" fmla="*/ 49531 h 49531"/>
                    <a:gd name="connsiteX2" fmla="*/ 0 w 66580"/>
                    <a:gd name="connsiteY2" fmla="*/ 24956 h 49531"/>
                    <a:gd name="connsiteX3" fmla="*/ 33147 w 66580"/>
                    <a:gd name="connsiteY3" fmla="*/ 1 h 49531"/>
                    <a:gd name="connsiteX4" fmla="*/ 66580 w 66580"/>
                    <a:gd name="connsiteY4" fmla="*/ 24575 h 495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66580" h="49531">
                      <a:moveTo>
                        <a:pt x="66580" y="24575"/>
                      </a:moveTo>
                      <a:cubicBezTo>
                        <a:pt x="66675" y="38291"/>
                        <a:pt x="51816" y="49435"/>
                        <a:pt x="33433" y="49531"/>
                      </a:cubicBezTo>
                      <a:cubicBezTo>
                        <a:pt x="15050" y="49626"/>
                        <a:pt x="95" y="38577"/>
                        <a:pt x="0" y="24956"/>
                      </a:cubicBezTo>
                      <a:cubicBezTo>
                        <a:pt x="-95" y="11240"/>
                        <a:pt x="14764" y="96"/>
                        <a:pt x="33147" y="1"/>
                      </a:cubicBezTo>
                      <a:cubicBezTo>
                        <a:pt x="51530" y="-95"/>
                        <a:pt x="66485" y="10954"/>
                        <a:pt x="66580" y="2457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0" name="iṣḻidé"/>
                <p:cNvSpPr/>
                <p:nvPr/>
              </p:nvSpPr>
              <p:spPr>
                <a:xfrm>
                  <a:off x="6854015" y="3443021"/>
                  <a:ext cx="39625" cy="39624"/>
                </a:xfrm>
                <a:custGeom>
                  <a:avLst/>
                  <a:gdLst>
                    <a:gd name="connsiteX0" fmla="*/ 39625 w 39625"/>
                    <a:gd name="connsiteY0" fmla="*/ 19717 h 39624"/>
                    <a:gd name="connsiteX1" fmla="*/ 19908 w 39625"/>
                    <a:gd name="connsiteY1" fmla="*/ 39624 h 39624"/>
                    <a:gd name="connsiteX2" fmla="*/ 1 w 39625"/>
                    <a:gd name="connsiteY2" fmla="*/ 19907 h 39624"/>
                    <a:gd name="connsiteX3" fmla="*/ 19718 w 39625"/>
                    <a:gd name="connsiteY3" fmla="*/ 0 h 39624"/>
                    <a:gd name="connsiteX4" fmla="*/ 39625 w 39625"/>
                    <a:gd name="connsiteY4" fmla="*/ 19717 h 396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5" h="39624">
                      <a:moveTo>
                        <a:pt x="39625" y="19717"/>
                      </a:moveTo>
                      <a:cubicBezTo>
                        <a:pt x="39720" y="30671"/>
                        <a:pt x="30862" y="39529"/>
                        <a:pt x="19908" y="39624"/>
                      </a:cubicBezTo>
                      <a:cubicBezTo>
                        <a:pt x="8954" y="39719"/>
                        <a:pt x="96" y="30861"/>
                        <a:pt x="1" y="19907"/>
                      </a:cubicBezTo>
                      <a:cubicBezTo>
                        <a:pt x="-95" y="8953"/>
                        <a:pt x="8764" y="95"/>
                        <a:pt x="19718" y="0"/>
                      </a:cubicBezTo>
                      <a:cubicBezTo>
                        <a:pt x="30672" y="0"/>
                        <a:pt x="39625" y="8763"/>
                        <a:pt x="39625" y="19717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1" name="ïṧ1íḍe"/>
                <p:cNvSpPr/>
                <p:nvPr/>
              </p:nvSpPr>
              <p:spPr>
                <a:xfrm>
                  <a:off x="6619700" y="3444163"/>
                  <a:ext cx="39625" cy="39625"/>
                </a:xfrm>
                <a:custGeom>
                  <a:avLst/>
                  <a:gdLst>
                    <a:gd name="connsiteX0" fmla="*/ 39625 w 39625"/>
                    <a:gd name="connsiteY0" fmla="*/ 19718 h 39625"/>
                    <a:gd name="connsiteX1" fmla="*/ 19908 w 39625"/>
                    <a:gd name="connsiteY1" fmla="*/ 39625 h 39625"/>
                    <a:gd name="connsiteX2" fmla="*/ 1 w 39625"/>
                    <a:gd name="connsiteY2" fmla="*/ 19908 h 39625"/>
                    <a:gd name="connsiteX3" fmla="*/ 19718 w 39625"/>
                    <a:gd name="connsiteY3" fmla="*/ 1 h 39625"/>
                    <a:gd name="connsiteX4" fmla="*/ 39625 w 39625"/>
                    <a:gd name="connsiteY4" fmla="*/ 19718 h 396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9625" h="39625">
                      <a:moveTo>
                        <a:pt x="39625" y="19718"/>
                      </a:moveTo>
                      <a:cubicBezTo>
                        <a:pt x="39720" y="30671"/>
                        <a:pt x="30862" y="39530"/>
                        <a:pt x="19908" y="39625"/>
                      </a:cubicBezTo>
                      <a:cubicBezTo>
                        <a:pt x="8954" y="39720"/>
                        <a:pt x="96" y="30862"/>
                        <a:pt x="1" y="19908"/>
                      </a:cubicBezTo>
                      <a:cubicBezTo>
                        <a:pt x="-95" y="8954"/>
                        <a:pt x="8764" y="96"/>
                        <a:pt x="19718" y="1"/>
                      </a:cubicBezTo>
                      <a:cubicBezTo>
                        <a:pt x="30671" y="-94"/>
                        <a:pt x="39529" y="8764"/>
                        <a:pt x="39625" y="19718"/>
                      </a:cubicBezTo>
                      <a:close/>
                    </a:path>
                  </a:pathLst>
                </a:custGeom>
                <a:solidFill>
                  <a:srgbClr val="262739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2" name="îSḷiḓè"/>
                <p:cNvSpPr/>
                <p:nvPr/>
              </p:nvSpPr>
              <p:spPr>
                <a:xfrm>
                  <a:off x="6710227" y="3480264"/>
                  <a:ext cx="47205" cy="131922"/>
                </a:xfrm>
                <a:custGeom>
                  <a:avLst/>
                  <a:gdLst>
                    <a:gd name="connsiteX0" fmla="*/ 46539 w 47205"/>
                    <a:gd name="connsiteY0" fmla="*/ 0 h 131922"/>
                    <a:gd name="connsiteX1" fmla="*/ 47206 w 47205"/>
                    <a:gd name="connsiteY1" fmla="*/ 131921 h 131922"/>
                    <a:gd name="connsiteX2" fmla="*/ 46539 w 47205"/>
                    <a:gd name="connsiteY2" fmla="*/ 0 h 1319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7205" h="131922">
                      <a:moveTo>
                        <a:pt x="46539" y="0"/>
                      </a:moveTo>
                      <a:lnTo>
                        <a:pt x="47206" y="131921"/>
                      </a:lnTo>
                      <a:cubicBezTo>
                        <a:pt x="-58617" y="132397"/>
                        <a:pt x="46539" y="0"/>
                        <a:pt x="46539" y="0"/>
                      </a:cubicBezTo>
                      <a:close/>
                    </a:path>
                  </a:pathLst>
                </a:custGeom>
                <a:solidFill>
                  <a:srgbClr val="F39798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3" name="ïŝlïdé"/>
                <p:cNvSpPr/>
                <p:nvPr/>
              </p:nvSpPr>
              <p:spPr>
                <a:xfrm>
                  <a:off x="6700473" y="3653809"/>
                  <a:ext cx="114109" cy="13421"/>
                </a:xfrm>
                <a:custGeom>
                  <a:avLst/>
                  <a:gdLst>
                    <a:gd name="connsiteX0" fmla="*/ 114109 w 114109"/>
                    <a:gd name="connsiteY0" fmla="*/ 0 h 13421"/>
                    <a:gd name="connsiteX1" fmla="*/ 0 w 114109"/>
                    <a:gd name="connsiteY1" fmla="*/ 571 h 134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4109" h="13421">
                      <a:moveTo>
                        <a:pt x="114109" y="0"/>
                      </a:moveTo>
                      <a:cubicBezTo>
                        <a:pt x="114109" y="0"/>
                        <a:pt x="57245" y="29813"/>
                        <a:pt x="0" y="571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4" name="íṩļïḓè"/>
                <p:cNvSpPr/>
                <p:nvPr/>
              </p:nvSpPr>
              <p:spPr>
                <a:xfrm>
                  <a:off x="6835252" y="3412321"/>
                  <a:ext cx="72961" cy="12220"/>
                </a:xfrm>
                <a:custGeom>
                  <a:avLst/>
                  <a:gdLst>
                    <a:gd name="connsiteX0" fmla="*/ 0 w 72961"/>
                    <a:gd name="connsiteY0" fmla="*/ 12221 h 12220"/>
                    <a:gd name="connsiteX1" fmla="*/ 72961 w 72961"/>
                    <a:gd name="connsiteY1" fmla="*/ 11840 h 122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220">
                      <a:moveTo>
                        <a:pt x="0" y="12221"/>
                      </a:moveTo>
                      <a:cubicBezTo>
                        <a:pt x="0" y="12221"/>
                        <a:pt x="36385" y="-15020"/>
                        <a:pt x="72961" y="1184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5" name="ï$ľïdè"/>
                <p:cNvSpPr/>
                <p:nvPr/>
              </p:nvSpPr>
              <p:spPr>
                <a:xfrm>
                  <a:off x="6600841" y="3413464"/>
                  <a:ext cx="72961" cy="12221"/>
                </a:xfrm>
                <a:custGeom>
                  <a:avLst/>
                  <a:gdLst>
                    <a:gd name="connsiteX0" fmla="*/ 0 w 72961"/>
                    <a:gd name="connsiteY0" fmla="*/ 12221 h 12221"/>
                    <a:gd name="connsiteX1" fmla="*/ 72962 w 72961"/>
                    <a:gd name="connsiteY1" fmla="*/ 11840 h 122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72961" h="12221">
                      <a:moveTo>
                        <a:pt x="0" y="12221"/>
                      </a:moveTo>
                      <a:cubicBezTo>
                        <a:pt x="0" y="12221"/>
                        <a:pt x="36386" y="-15020"/>
                        <a:pt x="72962" y="11840"/>
                      </a:cubicBezTo>
                    </a:path>
                  </a:pathLst>
                </a:custGeom>
                <a:noFill/>
                <a:ln w="5911" cap="flat">
                  <a:solidFill>
                    <a:srgbClr val="262739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6" name="íṣḻïḋe"/>
                <p:cNvSpPr/>
                <p:nvPr/>
              </p:nvSpPr>
              <p:spPr>
                <a:xfrm>
                  <a:off x="6847920" y="3512553"/>
                  <a:ext cx="140779" cy="140779"/>
                </a:xfrm>
                <a:custGeom>
                  <a:avLst/>
                  <a:gdLst>
                    <a:gd name="connsiteX0" fmla="*/ 140780 w 140779"/>
                    <a:gd name="connsiteY0" fmla="*/ 70390 h 140779"/>
                    <a:gd name="connsiteX1" fmla="*/ 70390 w 140779"/>
                    <a:gd name="connsiteY1" fmla="*/ 140779 h 140779"/>
                    <a:gd name="connsiteX2" fmla="*/ 0 w 140779"/>
                    <a:gd name="connsiteY2" fmla="*/ 70390 h 140779"/>
                    <a:gd name="connsiteX3" fmla="*/ 70390 w 140779"/>
                    <a:gd name="connsiteY3" fmla="*/ 0 h 140779"/>
                    <a:gd name="connsiteX4" fmla="*/ 140780 w 140779"/>
                    <a:gd name="connsiteY4" fmla="*/ 70390 h 1407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40779" h="140779">
                      <a:moveTo>
                        <a:pt x="140780" y="70390"/>
                      </a:moveTo>
                      <a:cubicBezTo>
                        <a:pt x="140780" y="109265"/>
                        <a:pt x="109265" y="140779"/>
                        <a:pt x="70390" y="140779"/>
                      </a:cubicBezTo>
                      <a:cubicBezTo>
                        <a:pt x="31515" y="140779"/>
                        <a:pt x="0" y="109265"/>
                        <a:pt x="0" y="70390"/>
                      </a:cubicBezTo>
                      <a:cubicBezTo>
                        <a:pt x="0" y="31515"/>
                        <a:pt x="31514" y="0"/>
                        <a:pt x="70390" y="0"/>
                      </a:cubicBezTo>
                      <a:cubicBezTo>
                        <a:pt x="109265" y="0"/>
                        <a:pt x="140780" y="31515"/>
                        <a:pt x="140780" y="70390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iš1îḓe"/>
                <p:cNvSpPr/>
                <p:nvPr/>
              </p:nvSpPr>
              <p:spPr>
                <a:xfrm>
                  <a:off x="6535786" y="3514076"/>
                  <a:ext cx="122110" cy="140877"/>
                </a:xfrm>
                <a:custGeom>
                  <a:avLst/>
                  <a:gdLst>
                    <a:gd name="connsiteX0" fmla="*/ 51339 w 122110"/>
                    <a:gd name="connsiteY0" fmla="*/ 1 h 140877"/>
                    <a:gd name="connsiteX1" fmla="*/ 122110 w 122110"/>
                    <a:gd name="connsiteY1" fmla="*/ 70105 h 140877"/>
                    <a:gd name="connsiteX2" fmla="*/ 52006 w 122110"/>
                    <a:gd name="connsiteY2" fmla="*/ 140876 h 140877"/>
                    <a:gd name="connsiteX3" fmla="*/ 15240 w 122110"/>
                    <a:gd name="connsiteY3" fmla="*/ 130493 h 140877"/>
                    <a:gd name="connsiteX4" fmla="*/ 0 w 122110"/>
                    <a:gd name="connsiteY4" fmla="*/ 22956 h 140877"/>
                    <a:gd name="connsiteX5" fmla="*/ 51339 w 122110"/>
                    <a:gd name="connsiteY5" fmla="*/ 1 h 14087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122110" h="140877">
                      <a:moveTo>
                        <a:pt x="51339" y="1"/>
                      </a:moveTo>
                      <a:cubicBezTo>
                        <a:pt x="90201" y="-190"/>
                        <a:pt x="121920" y="31148"/>
                        <a:pt x="122110" y="70105"/>
                      </a:cubicBezTo>
                      <a:cubicBezTo>
                        <a:pt x="122301" y="108967"/>
                        <a:pt x="90964" y="140685"/>
                        <a:pt x="52006" y="140876"/>
                      </a:cubicBezTo>
                      <a:cubicBezTo>
                        <a:pt x="38481" y="140971"/>
                        <a:pt x="26003" y="136970"/>
                        <a:pt x="15240" y="130493"/>
                      </a:cubicBezTo>
                      <a:cubicBezTo>
                        <a:pt x="6191" y="98870"/>
                        <a:pt x="1143" y="62866"/>
                        <a:pt x="0" y="22956"/>
                      </a:cubicBezTo>
                      <a:cubicBezTo>
                        <a:pt x="12859" y="8954"/>
                        <a:pt x="30956" y="96"/>
                        <a:pt x="51339" y="1"/>
                      </a:cubicBezTo>
                      <a:close/>
                    </a:path>
                  </a:pathLst>
                </a:custGeom>
                <a:solidFill>
                  <a:srgbClr val="F6AFAD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26" name="íšḷîḋe"/>
              <p:cNvSpPr/>
              <p:nvPr/>
            </p:nvSpPr>
            <p:spPr>
              <a:xfrm>
                <a:off x="6311948" y="5732545"/>
                <a:ext cx="260317" cy="261842"/>
              </a:xfrm>
              <a:custGeom>
                <a:avLst/>
                <a:gdLst>
                  <a:gd name="connsiteX0" fmla="*/ 0 w 260317"/>
                  <a:gd name="connsiteY0" fmla="*/ 196596 h 261842"/>
                  <a:gd name="connsiteX1" fmla="*/ 194786 w 260317"/>
                  <a:gd name="connsiteY1" fmla="*/ 0 h 261842"/>
                  <a:gd name="connsiteX2" fmla="*/ 260318 w 260317"/>
                  <a:gd name="connsiteY2" fmla="*/ 64865 h 261842"/>
                  <a:gd name="connsiteX3" fmla="*/ 65246 w 260317"/>
                  <a:gd name="connsiteY3" fmla="*/ 261842 h 2618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0317" h="261842">
                    <a:moveTo>
                      <a:pt x="0" y="196596"/>
                    </a:moveTo>
                    <a:lnTo>
                      <a:pt x="194786" y="0"/>
                    </a:lnTo>
                    <a:lnTo>
                      <a:pt x="260318" y="64865"/>
                    </a:lnTo>
                    <a:lnTo>
                      <a:pt x="65246" y="261842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7" name="ïśļiḓé"/>
              <p:cNvSpPr/>
              <p:nvPr/>
            </p:nvSpPr>
            <p:spPr>
              <a:xfrm>
                <a:off x="7038039" y="5729687"/>
                <a:ext cx="261556" cy="260604"/>
              </a:xfrm>
              <a:custGeom>
                <a:avLst/>
                <a:gdLst>
                  <a:gd name="connsiteX0" fmla="*/ 261557 w 261556"/>
                  <a:gd name="connsiteY0" fmla="*/ 194786 h 260604"/>
                  <a:gd name="connsiteX1" fmla="*/ 64865 w 261556"/>
                  <a:gd name="connsiteY1" fmla="*/ 0 h 260604"/>
                  <a:gd name="connsiteX2" fmla="*/ 0 w 261556"/>
                  <a:gd name="connsiteY2" fmla="*/ 65532 h 260604"/>
                  <a:gd name="connsiteX3" fmla="*/ 196882 w 261556"/>
                  <a:gd name="connsiteY3" fmla="*/ 260604 h 2606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61556" h="260604">
                    <a:moveTo>
                      <a:pt x="261557" y="194786"/>
                    </a:moveTo>
                    <a:lnTo>
                      <a:pt x="64865" y="0"/>
                    </a:lnTo>
                    <a:lnTo>
                      <a:pt x="0" y="65532"/>
                    </a:lnTo>
                    <a:lnTo>
                      <a:pt x="196882" y="260604"/>
                    </a:lnTo>
                    <a:close/>
                  </a:path>
                </a:pathLst>
              </a:custGeom>
              <a:solidFill>
                <a:srgbClr val="FCDF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8" name="işḻîḑe"/>
              <p:cNvSpPr/>
              <p:nvPr/>
            </p:nvSpPr>
            <p:spPr>
              <a:xfrm>
                <a:off x="6611033" y="5709780"/>
                <a:ext cx="348233" cy="58864"/>
              </a:xfrm>
              <a:custGeom>
                <a:avLst/>
                <a:gdLst>
                  <a:gd name="connsiteX0" fmla="*/ 348234 w 348233"/>
                  <a:gd name="connsiteY0" fmla="*/ 0 h 58864"/>
                  <a:gd name="connsiteX1" fmla="*/ 0 w 348233"/>
                  <a:gd name="connsiteY1" fmla="*/ 1619 h 58864"/>
                  <a:gd name="connsiteX2" fmla="*/ 286 w 348233"/>
                  <a:gd name="connsiteY2" fmla="*/ 58864 h 58864"/>
                  <a:gd name="connsiteX3" fmla="*/ 347758 w 348233"/>
                  <a:gd name="connsiteY3" fmla="*/ 57245 h 588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48233" h="58864">
                    <a:moveTo>
                      <a:pt x="348234" y="0"/>
                    </a:moveTo>
                    <a:lnTo>
                      <a:pt x="0" y="1619"/>
                    </a:lnTo>
                    <a:lnTo>
                      <a:pt x="286" y="58864"/>
                    </a:lnTo>
                    <a:lnTo>
                      <a:pt x="347758" y="57245"/>
                    </a:lnTo>
                    <a:close/>
                  </a:path>
                </a:pathLst>
              </a:custGeom>
              <a:solidFill>
                <a:srgbClr val="434A5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29" name="ïŝḻíḓe"/>
              <p:cNvSpPr/>
              <p:nvPr/>
            </p:nvSpPr>
            <p:spPr>
              <a:xfrm>
                <a:off x="6565977" y="3907269"/>
                <a:ext cx="437254" cy="266848"/>
              </a:xfrm>
              <a:custGeom>
                <a:avLst/>
                <a:gdLst>
                  <a:gd name="connsiteX0" fmla="*/ 374716 w 437254"/>
                  <a:gd name="connsiteY0" fmla="*/ 9049 h 266848"/>
                  <a:gd name="connsiteX1" fmla="*/ 362334 w 437254"/>
                  <a:gd name="connsiteY1" fmla="*/ 0 h 266848"/>
                  <a:gd name="connsiteX2" fmla="*/ 218887 w 437254"/>
                  <a:gd name="connsiteY2" fmla="*/ 184309 h 266848"/>
                  <a:gd name="connsiteX3" fmla="*/ 73631 w 437254"/>
                  <a:gd name="connsiteY3" fmla="*/ 1429 h 266848"/>
                  <a:gd name="connsiteX4" fmla="*/ 61344 w 437254"/>
                  <a:gd name="connsiteY4" fmla="*/ 10668 h 266848"/>
                  <a:gd name="connsiteX5" fmla="*/ 43818 w 437254"/>
                  <a:gd name="connsiteY5" fmla="*/ 236029 h 266848"/>
                  <a:gd name="connsiteX6" fmla="*/ 219078 w 437254"/>
                  <a:gd name="connsiteY6" fmla="*/ 225647 h 266848"/>
                  <a:gd name="connsiteX7" fmla="*/ 394433 w 437254"/>
                  <a:gd name="connsiteY7" fmla="*/ 234410 h 266848"/>
                  <a:gd name="connsiteX8" fmla="*/ 374716 w 437254"/>
                  <a:gd name="connsiteY8" fmla="*/ 9049 h 266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37254" h="266848">
                    <a:moveTo>
                      <a:pt x="374716" y="9049"/>
                    </a:moveTo>
                    <a:lnTo>
                      <a:pt x="362334" y="0"/>
                    </a:lnTo>
                    <a:cubicBezTo>
                      <a:pt x="363001" y="137827"/>
                      <a:pt x="218887" y="184309"/>
                      <a:pt x="218887" y="184309"/>
                    </a:cubicBezTo>
                    <a:cubicBezTo>
                      <a:pt x="218887" y="184309"/>
                      <a:pt x="74298" y="139160"/>
                      <a:pt x="73631" y="1429"/>
                    </a:cubicBezTo>
                    <a:lnTo>
                      <a:pt x="61344" y="10668"/>
                    </a:lnTo>
                    <a:cubicBezTo>
                      <a:pt x="-11427" y="65056"/>
                      <a:pt x="-22190" y="173736"/>
                      <a:pt x="43818" y="236029"/>
                    </a:cubicBezTo>
                    <a:cubicBezTo>
                      <a:pt x="82394" y="272415"/>
                      <a:pt x="138687" y="285274"/>
                      <a:pt x="219078" y="225647"/>
                    </a:cubicBezTo>
                    <a:cubicBezTo>
                      <a:pt x="300041" y="284607"/>
                      <a:pt x="356238" y="271082"/>
                      <a:pt x="394433" y="234410"/>
                    </a:cubicBezTo>
                    <a:cubicBezTo>
                      <a:pt x="459870" y="171260"/>
                      <a:pt x="447964" y="62675"/>
                      <a:pt x="374716" y="9049"/>
                    </a:cubicBezTo>
                    <a:close/>
                  </a:path>
                </a:pathLst>
              </a:custGeom>
              <a:solidFill>
                <a:srgbClr val="5B7FC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0" name="ísľiḓe"/>
              <p:cNvSpPr/>
              <p:nvPr/>
            </p:nvSpPr>
            <p:spPr>
              <a:xfrm>
                <a:off x="6311948" y="5732545"/>
                <a:ext cx="194786" cy="196595"/>
              </a:xfrm>
              <a:custGeom>
                <a:avLst/>
                <a:gdLst>
                  <a:gd name="connsiteX0" fmla="*/ 194786 w 194786"/>
                  <a:gd name="connsiteY0" fmla="*/ 0 h 196595"/>
                  <a:gd name="connsiteX1" fmla="*/ 0 w 194786"/>
                  <a:gd name="connsiteY1" fmla="*/ 196596 h 1965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4786" h="196595">
                    <a:moveTo>
                      <a:pt x="194786" y="0"/>
                    </a:moveTo>
                    <a:lnTo>
                      <a:pt x="0" y="196596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1" name="îṧḷíḑê"/>
              <p:cNvSpPr/>
              <p:nvPr/>
            </p:nvSpPr>
            <p:spPr>
              <a:xfrm>
                <a:off x="7102904" y="5729688"/>
                <a:ext cx="196691" cy="194786"/>
              </a:xfrm>
              <a:custGeom>
                <a:avLst/>
                <a:gdLst>
                  <a:gd name="connsiteX0" fmla="*/ 0 w 196691"/>
                  <a:gd name="connsiteY0" fmla="*/ 0 h 194786"/>
                  <a:gd name="connsiteX1" fmla="*/ 196692 w 196691"/>
                  <a:gd name="connsiteY1" fmla="*/ 194786 h 194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6691" h="194786">
                    <a:moveTo>
                      <a:pt x="0" y="0"/>
                    </a:moveTo>
                    <a:lnTo>
                      <a:pt x="196692" y="194786"/>
                    </a:lnTo>
                  </a:path>
                </a:pathLst>
              </a:custGeom>
              <a:ln w="5911" cap="flat">
                <a:solidFill>
                  <a:srgbClr val="262739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2" name="îśḻidê"/>
              <p:cNvSpPr/>
              <p:nvPr/>
            </p:nvSpPr>
            <p:spPr>
              <a:xfrm>
                <a:off x="6535024" y="3424577"/>
                <a:ext cx="497452" cy="396589"/>
              </a:xfrm>
              <a:custGeom>
                <a:avLst/>
                <a:gdLst>
                  <a:gd name="connsiteX0" fmla="*/ 18097 w 497452"/>
                  <a:gd name="connsiteY0" fmla="*/ 229042 h 396589"/>
                  <a:gd name="connsiteX1" fmla="*/ 64675 w 497452"/>
                  <a:gd name="connsiteY1" fmla="*/ 131601 h 396589"/>
                  <a:gd name="connsiteX2" fmla="*/ 0 w 497452"/>
                  <a:gd name="connsiteY2" fmla="*/ 23873 h 396589"/>
                  <a:gd name="connsiteX3" fmla="*/ 95 w 497452"/>
                  <a:gd name="connsiteY3" fmla="*/ 4918 h 396589"/>
                  <a:gd name="connsiteX4" fmla="*/ 72676 w 497452"/>
                  <a:gd name="connsiteY4" fmla="*/ 125791 h 396589"/>
                  <a:gd name="connsiteX5" fmla="*/ 244697 w 497452"/>
                  <a:gd name="connsiteY5" fmla="*/ 124933 h 396589"/>
                  <a:gd name="connsiteX6" fmla="*/ 416719 w 497452"/>
                  <a:gd name="connsiteY6" fmla="*/ 124076 h 396589"/>
                  <a:gd name="connsiteX7" fmla="*/ 488156 w 497452"/>
                  <a:gd name="connsiteY7" fmla="*/ 2442 h 396589"/>
                  <a:gd name="connsiteX8" fmla="*/ 494919 w 497452"/>
                  <a:gd name="connsiteY8" fmla="*/ 632 h 396589"/>
                  <a:gd name="connsiteX9" fmla="*/ 496824 w 497452"/>
                  <a:gd name="connsiteY9" fmla="*/ 7204 h 396589"/>
                  <a:gd name="connsiteX10" fmla="*/ 424815 w 497452"/>
                  <a:gd name="connsiteY10" fmla="*/ 129696 h 396589"/>
                  <a:gd name="connsiteX11" fmla="*/ 472250 w 497452"/>
                  <a:gd name="connsiteY11" fmla="*/ 226756 h 396589"/>
                  <a:gd name="connsiteX12" fmla="*/ 483108 w 497452"/>
                  <a:gd name="connsiteY12" fmla="*/ 181607 h 396589"/>
                  <a:gd name="connsiteX13" fmla="*/ 493490 w 497452"/>
                  <a:gd name="connsiteY13" fmla="*/ 179512 h 396589"/>
                  <a:gd name="connsiteX14" fmla="*/ 475202 w 497452"/>
                  <a:gd name="connsiteY14" fmla="*/ 245425 h 396589"/>
                  <a:gd name="connsiteX15" fmla="*/ 245936 w 497452"/>
                  <a:gd name="connsiteY15" fmla="*/ 396586 h 396589"/>
                  <a:gd name="connsiteX16" fmla="*/ 18479 w 497452"/>
                  <a:gd name="connsiteY16" fmla="*/ 243901 h 396589"/>
                  <a:gd name="connsiteX17" fmla="*/ 1905 w 497452"/>
                  <a:gd name="connsiteY17" fmla="*/ 152937 h 396589"/>
                  <a:gd name="connsiteX18" fmla="*/ 18097 w 497452"/>
                  <a:gd name="connsiteY18" fmla="*/ 229042 h 396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97452" h="396589">
                    <a:moveTo>
                      <a:pt x="18097" y="229042"/>
                    </a:moveTo>
                    <a:cubicBezTo>
                      <a:pt x="46577" y="187894"/>
                      <a:pt x="60293" y="146460"/>
                      <a:pt x="64675" y="131601"/>
                    </a:cubicBezTo>
                    <a:lnTo>
                      <a:pt x="0" y="23873"/>
                    </a:lnTo>
                    <a:lnTo>
                      <a:pt x="95" y="4918"/>
                    </a:lnTo>
                    <a:lnTo>
                      <a:pt x="72676" y="125791"/>
                    </a:lnTo>
                    <a:lnTo>
                      <a:pt x="244697" y="124933"/>
                    </a:lnTo>
                    <a:lnTo>
                      <a:pt x="416719" y="124076"/>
                    </a:lnTo>
                    <a:lnTo>
                      <a:pt x="488156" y="2442"/>
                    </a:lnTo>
                    <a:cubicBezTo>
                      <a:pt x="489490" y="156"/>
                      <a:pt x="492538" y="-701"/>
                      <a:pt x="494919" y="632"/>
                    </a:cubicBezTo>
                    <a:cubicBezTo>
                      <a:pt x="497300" y="1966"/>
                      <a:pt x="498157" y="4918"/>
                      <a:pt x="496824" y="7204"/>
                    </a:cubicBezTo>
                    <a:lnTo>
                      <a:pt x="424815" y="129696"/>
                    </a:lnTo>
                    <a:cubicBezTo>
                      <a:pt x="429292" y="144555"/>
                      <a:pt x="443484" y="185798"/>
                      <a:pt x="472250" y="226756"/>
                    </a:cubicBezTo>
                    <a:cubicBezTo>
                      <a:pt x="475393" y="217326"/>
                      <a:pt x="479488" y="202372"/>
                      <a:pt x="483108" y="181607"/>
                    </a:cubicBezTo>
                    <a:lnTo>
                      <a:pt x="493490" y="179512"/>
                    </a:lnTo>
                    <a:cubicBezTo>
                      <a:pt x="486156" y="223136"/>
                      <a:pt x="480632" y="231994"/>
                      <a:pt x="475202" y="245425"/>
                    </a:cubicBezTo>
                    <a:cubicBezTo>
                      <a:pt x="439198" y="334483"/>
                      <a:pt x="350711" y="396110"/>
                      <a:pt x="245936" y="396586"/>
                    </a:cubicBezTo>
                    <a:cubicBezTo>
                      <a:pt x="141161" y="397063"/>
                      <a:pt x="54578" y="343342"/>
                      <a:pt x="18479" y="243901"/>
                    </a:cubicBezTo>
                    <a:cubicBezTo>
                      <a:pt x="10477" y="221803"/>
                      <a:pt x="95" y="153127"/>
                      <a:pt x="1905" y="152937"/>
                    </a:cubicBezTo>
                    <a:cubicBezTo>
                      <a:pt x="6668" y="190751"/>
                      <a:pt x="13430" y="215421"/>
                      <a:pt x="18097" y="229042"/>
                    </a:cubicBezTo>
                    <a:close/>
                  </a:path>
                </a:pathLst>
              </a:custGeom>
              <a:solidFill>
                <a:srgbClr val="CCE9F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3" name="îsḻíḑè"/>
              <p:cNvSpPr/>
              <p:nvPr/>
            </p:nvSpPr>
            <p:spPr>
              <a:xfrm>
                <a:off x="6501487" y="3056205"/>
                <a:ext cx="559296" cy="391947"/>
              </a:xfrm>
              <a:custGeom>
                <a:avLst/>
                <a:gdLst>
                  <a:gd name="connsiteX0" fmla="*/ 545697 w 559296"/>
                  <a:gd name="connsiteY0" fmla="*/ 361289 h 391947"/>
                  <a:gd name="connsiteX1" fmla="*/ 498262 w 559296"/>
                  <a:gd name="connsiteY1" fmla="*/ 388721 h 391947"/>
                  <a:gd name="connsiteX2" fmla="*/ 277568 w 559296"/>
                  <a:gd name="connsiteY2" fmla="*/ 179171 h 391947"/>
                  <a:gd name="connsiteX3" fmla="*/ 14583 w 559296"/>
                  <a:gd name="connsiteY3" fmla="*/ 325380 h 391947"/>
                  <a:gd name="connsiteX4" fmla="*/ 269376 w 559296"/>
                  <a:gd name="connsiteY4" fmla="*/ 6 h 391947"/>
                  <a:gd name="connsiteX5" fmla="*/ 545697 w 559296"/>
                  <a:gd name="connsiteY5" fmla="*/ 361289 h 3919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59296" h="391947">
                    <a:moveTo>
                      <a:pt x="545697" y="361289"/>
                    </a:moveTo>
                    <a:cubicBezTo>
                      <a:pt x="545697" y="361289"/>
                      <a:pt x="532647" y="403770"/>
                      <a:pt x="498262" y="388721"/>
                    </a:cubicBezTo>
                    <a:cubicBezTo>
                      <a:pt x="463877" y="373671"/>
                      <a:pt x="467687" y="190029"/>
                      <a:pt x="277568" y="179171"/>
                    </a:cubicBezTo>
                    <a:cubicBezTo>
                      <a:pt x="205940" y="344620"/>
                      <a:pt x="58112" y="368528"/>
                      <a:pt x="14583" y="325380"/>
                    </a:cubicBezTo>
                    <a:cubicBezTo>
                      <a:pt x="-28947" y="282231"/>
                      <a:pt x="16297" y="1244"/>
                      <a:pt x="269376" y="6"/>
                    </a:cubicBezTo>
                    <a:cubicBezTo>
                      <a:pt x="522551" y="-1233"/>
                      <a:pt x="592560" y="202126"/>
                      <a:pt x="545697" y="361289"/>
                    </a:cubicBezTo>
                    <a:close/>
                  </a:path>
                </a:pathLst>
              </a:custGeom>
              <a:solidFill>
                <a:srgbClr val="E95F5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</p:grpSp>
      <p:sp>
        <p:nvSpPr>
          <p:cNvPr id="247" name="iṩľïďe"/>
          <p:cNvSpPr/>
          <p:nvPr userDrawn="1"/>
        </p:nvSpPr>
        <p:spPr>
          <a:xfrm>
            <a:off x="0" y="2096569"/>
            <a:ext cx="12192000" cy="476143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562933"/>
            <a:ext cx="10845798" cy="2199595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447255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5150984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标题占位符 1"/>
          <p:cNvSpPr>
            <a:spLocks noGrp="1"/>
          </p:cNvSpPr>
          <p:nvPr>
            <p:ph type="title"/>
          </p:nvPr>
        </p:nvSpPr>
        <p:spPr>
          <a:xfrm>
            <a:off x="1142965" y="571480"/>
            <a:ext cx="9715568" cy="78581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75F368-C03A-42E9-8868-9BCF35D39B2E}" type="slidenum">
              <a:rPr lang="zh-CN" altLang="en-US"/>
            </a:fld>
            <a:endParaRPr lang="en-US" altLang="zh-CN" dirty="0"/>
          </a:p>
        </p:txBody>
      </p:sp>
      <p:sp>
        <p:nvSpPr>
          <p:cNvPr id="5" name="日期占位符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C39C35-3626-4273-A769-3E7210EEB81F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transition>
    <p:random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2.png"/><Relationship Id="rId3" Type="http://schemas.openxmlformats.org/officeDocument/2006/relationships/tags" Target="../tags/tag1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3.png"/><Relationship Id="rId1" Type="http://schemas.openxmlformats.org/officeDocument/2006/relationships/tags" Target="../tags/tag5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4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4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3.jpeg"/><Relationship Id="rId1" Type="http://schemas.openxmlformats.org/officeDocument/2006/relationships/tags" Target="../tags/tag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4" Type="http://schemas.openxmlformats.org/officeDocument/2006/relationships/tags" Target="../tags/tag5.xml"/><Relationship Id="rId3" Type="http://schemas.openxmlformats.org/officeDocument/2006/relationships/tags" Target="../tags/tag4.xml"/><Relationship Id="rId23" Type="http://schemas.openxmlformats.org/officeDocument/2006/relationships/slideLayout" Target="../slideLayouts/slideLayout4.xml"/><Relationship Id="rId22" Type="http://schemas.openxmlformats.org/officeDocument/2006/relationships/tags" Target="../tags/tag23.xml"/><Relationship Id="rId21" Type="http://schemas.openxmlformats.org/officeDocument/2006/relationships/tags" Target="../tags/tag22.xml"/><Relationship Id="rId20" Type="http://schemas.openxmlformats.org/officeDocument/2006/relationships/tags" Target="../tags/tag21.xml"/><Relationship Id="rId2" Type="http://schemas.openxmlformats.org/officeDocument/2006/relationships/tags" Target="../tags/tag3.xml"/><Relationship Id="rId19" Type="http://schemas.openxmlformats.org/officeDocument/2006/relationships/tags" Target="../tags/tag20.xml"/><Relationship Id="rId18" Type="http://schemas.openxmlformats.org/officeDocument/2006/relationships/tags" Target="../tags/tag19.xml"/><Relationship Id="rId17" Type="http://schemas.openxmlformats.org/officeDocument/2006/relationships/tags" Target="../tags/tag18.xml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image" Target="../media/image1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image" Target="../media/image18.png"/><Relationship Id="rId1" Type="http://schemas.openxmlformats.org/officeDocument/2006/relationships/image" Target="../media/image17.jpeg"/></Relationships>
</file>

<file path=ppt/slides/_rels/slide3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2.vml"/><Relationship Id="rId4" Type="http://schemas.openxmlformats.org/officeDocument/2006/relationships/slideLayout" Target="../slideLayouts/slideLayout6.xml"/><Relationship Id="rId3" Type="http://schemas.openxmlformats.org/officeDocument/2006/relationships/themeOverride" Target="../theme/themeOverride1.xml"/><Relationship Id="rId2" Type="http://schemas.openxmlformats.org/officeDocument/2006/relationships/image" Target="../media/image1.emf"/><Relationship Id="rId1" Type="http://schemas.openxmlformats.org/officeDocument/2006/relationships/oleObject" Target="../embeddings/oleObject2.bin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26.xml"/><Relationship Id="rId8" Type="http://schemas.openxmlformats.org/officeDocument/2006/relationships/image" Target="../media/image9.GIF"/><Relationship Id="rId7" Type="http://schemas.openxmlformats.org/officeDocument/2006/relationships/image" Target="../media/image8.png"/><Relationship Id="rId6" Type="http://schemas.openxmlformats.org/officeDocument/2006/relationships/image" Target="file:///C:\Users\1V994W2\PycharmProjects\PPT_Background_Generation/pic_temp/1_pic_quater_left_down.png" TargetMode="External"/><Relationship Id="rId5" Type="http://schemas.openxmlformats.org/officeDocument/2006/relationships/image" Target="../media/image7.png"/><Relationship Id="rId4" Type="http://schemas.openxmlformats.org/officeDocument/2006/relationships/tags" Target="../tags/tag25.xml"/><Relationship Id="rId3" Type="http://schemas.openxmlformats.org/officeDocument/2006/relationships/image" Target="file:///C:\Users\1V994W2\PycharmProjects\PPT_Background_Generation/pic_temp/0_pic_quater_right_down.png" TargetMode="External"/><Relationship Id="rId2" Type="http://schemas.openxmlformats.org/officeDocument/2006/relationships/image" Target="../media/image6.png"/><Relationship Id="rId10" Type="http://schemas.openxmlformats.org/officeDocument/2006/relationships/slideLayout" Target="../slideLayouts/slideLayout5.xml"/><Relationship Id="rId1" Type="http://schemas.openxmlformats.org/officeDocument/2006/relationships/tags" Target="../tags/tag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9" Type="http://schemas.openxmlformats.org/officeDocument/2006/relationships/tags" Target="../tags/tag35.xml"/><Relationship Id="rId8" Type="http://schemas.openxmlformats.org/officeDocument/2006/relationships/tags" Target="../tags/tag34.xml"/><Relationship Id="rId7" Type="http://schemas.openxmlformats.org/officeDocument/2006/relationships/tags" Target="../tags/tag33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3" Type="http://schemas.openxmlformats.org/officeDocument/2006/relationships/tags" Target="../tags/tag29.xml"/><Relationship Id="rId26" Type="http://schemas.openxmlformats.org/officeDocument/2006/relationships/slideLayout" Target="../slideLayouts/slideLayout3.xml"/><Relationship Id="rId25" Type="http://schemas.openxmlformats.org/officeDocument/2006/relationships/tags" Target="../tags/tag50.xml"/><Relationship Id="rId24" Type="http://schemas.openxmlformats.org/officeDocument/2006/relationships/tags" Target="../tags/tag49.xml"/><Relationship Id="rId23" Type="http://schemas.openxmlformats.org/officeDocument/2006/relationships/tags" Target="../tags/tag48.xml"/><Relationship Id="rId22" Type="http://schemas.openxmlformats.org/officeDocument/2006/relationships/slide" Target="slide10.xml"/><Relationship Id="rId21" Type="http://schemas.openxmlformats.org/officeDocument/2006/relationships/tags" Target="../tags/tag47.xml"/><Relationship Id="rId20" Type="http://schemas.openxmlformats.org/officeDocument/2006/relationships/tags" Target="../tags/tag46.xml"/><Relationship Id="rId2" Type="http://schemas.openxmlformats.org/officeDocument/2006/relationships/tags" Target="../tags/tag28.xml"/><Relationship Id="rId19" Type="http://schemas.openxmlformats.org/officeDocument/2006/relationships/tags" Target="../tags/tag45.xml"/><Relationship Id="rId18" Type="http://schemas.openxmlformats.org/officeDocument/2006/relationships/tags" Target="../tags/tag44.xml"/><Relationship Id="rId17" Type="http://schemas.openxmlformats.org/officeDocument/2006/relationships/tags" Target="../tags/tag43.xml"/><Relationship Id="rId16" Type="http://schemas.openxmlformats.org/officeDocument/2006/relationships/tags" Target="../tags/tag42.xml"/><Relationship Id="rId15" Type="http://schemas.openxmlformats.org/officeDocument/2006/relationships/tags" Target="../tags/tag41.xml"/><Relationship Id="rId14" Type="http://schemas.openxmlformats.org/officeDocument/2006/relationships/tags" Target="../tags/tag40.xml"/><Relationship Id="rId13" Type="http://schemas.openxmlformats.org/officeDocument/2006/relationships/tags" Target="../tags/tag39.xml"/><Relationship Id="rId12" Type="http://schemas.openxmlformats.org/officeDocument/2006/relationships/tags" Target="../tags/tag38.xml"/><Relationship Id="rId11" Type="http://schemas.openxmlformats.org/officeDocument/2006/relationships/tags" Target="../tags/tag37.xml"/><Relationship Id="rId10" Type="http://schemas.openxmlformats.org/officeDocument/2006/relationships/tags" Target="../tags/tag36.xml"/><Relationship Id="rId1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ṥḷí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$ḷïďê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íṣ1ïḑé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sḻídê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íṡļiḋé"/>
          <p:cNvSpPr>
            <a:spLocks noGrp="1"/>
          </p:cNvSpPr>
          <p:nvPr>
            <p:ph type="ctrTitle"/>
          </p:nvPr>
        </p:nvSpPr>
        <p:spPr>
          <a:xfrm>
            <a:off x="600076" y="3714811"/>
            <a:ext cx="10850562" cy="1503172"/>
          </a:xfrm>
        </p:spPr>
        <p:txBody>
          <a:bodyPr>
            <a:normAutofit/>
          </a:bodyPr>
          <a:lstStyle/>
          <a:p>
            <a:r>
              <a:rPr lang="en-US" altLang="zh-CN" sz="7200" i="1" spc="600" dirty="0"/>
              <a:t> English</a:t>
            </a:r>
            <a:endParaRPr lang="en-US" altLang="zh-CN" sz="7200" i="1" spc="600" dirty="0"/>
          </a:p>
        </p:txBody>
      </p:sp>
      <p:pic>
        <p:nvPicPr>
          <p:cNvPr id="8" name="图片 7" descr="U84[A}CP902XW7OJQ)CI9T0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10770870" y="5480050"/>
            <a:ext cx="1421130" cy="137795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102" name="图片 101"/>
          <p:cNvPicPr/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635" cy="685863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" name="文本框 5"/>
          <p:cNvSpPr txBox="1"/>
          <p:nvPr/>
        </p:nvSpPr>
        <p:spPr>
          <a:xfrm>
            <a:off x="8291830" y="308610"/>
            <a:ext cx="1747520" cy="1322070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p>
            <a:pPr algn="l"/>
            <a:r>
              <a:rPr lang="zh-CN" altLang="en-US" sz="2000" b="1"/>
              <a:t>朱特部落</a:t>
            </a:r>
            <a:endParaRPr lang="zh-CN" altLang="en-US" sz="2000" b="1"/>
          </a:p>
          <a:p>
            <a:pPr algn="l"/>
            <a:r>
              <a:rPr lang="zh-CN" altLang="en-US" sz="2000" b="1"/>
              <a:t>盎格鲁部落</a:t>
            </a:r>
            <a:endParaRPr lang="zh-CN" altLang="en-US" sz="2000" b="1"/>
          </a:p>
          <a:p>
            <a:pPr algn="l"/>
            <a:r>
              <a:rPr lang="zh-CN" altLang="en-US" sz="2000" b="1"/>
              <a:t>撒克逊部落</a:t>
            </a:r>
            <a:endParaRPr lang="zh-CN" altLang="en-US" sz="2000" b="1"/>
          </a:p>
          <a:p>
            <a:pPr algn="l"/>
            <a:r>
              <a:rPr lang="en-US" altLang="zh-CN" sz="2000" b="1"/>
              <a:t>Anglo-Saxon</a:t>
            </a:r>
            <a:endParaRPr lang="en-US" altLang="zh-CN" sz="2000" b="1"/>
          </a:p>
        </p:txBody>
      </p:sp>
      <p:sp>
        <p:nvSpPr>
          <p:cNvPr id="7" name="文本框 6"/>
          <p:cNvSpPr txBox="1"/>
          <p:nvPr/>
        </p:nvSpPr>
        <p:spPr>
          <a:xfrm>
            <a:off x="7648575" y="5146675"/>
            <a:ext cx="1960880" cy="398780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p>
            <a:r>
              <a:rPr lang="zh-CN" altLang="en-US" sz="2000" b="1"/>
              <a:t>拉丁语、希腊语</a:t>
            </a:r>
            <a:endParaRPr lang="zh-CN" altLang="en-US" sz="2000" b="1"/>
          </a:p>
        </p:txBody>
      </p:sp>
      <p:sp>
        <p:nvSpPr>
          <p:cNvPr id="8" name="文本框 7"/>
          <p:cNvSpPr txBox="1"/>
          <p:nvPr/>
        </p:nvSpPr>
        <p:spPr>
          <a:xfrm>
            <a:off x="4490085" y="2671445"/>
            <a:ext cx="1542415" cy="460375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p>
            <a:r>
              <a:rPr lang="en-US" altLang="zh-CN" sz="2400" b="1"/>
              <a:t>England</a:t>
            </a:r>
            <a:endParaRPr lang="en-US" altLang="zh-CN" sz="2400" b="1"/>
          </a:p>
        </p:txBody>
      </p:sp>
      <p:sp>
        <p:nvSpPr>
          <p:cNvPr id="9" name="文本框 8"/>
          <p:cNvSpPr txBox="1"/>
          <p:nvPr/>
        </p:nvSpPr>
        <p:spPr>
          <a:xfrm>
            <a:off x="436245" y="796290"/>
            <a:ext cx="2470785" cy="3138170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p>
            <a:pPr algn="ctr"/>
            <a:r>
              <a:rPr lang="zh-CN" altLang="en-US" b="1"/>
              <a:t>盎格鲁</a:t>
            </a:r>
            <a:r>
              <a:rPr lang="en-US" altLang="zh-CN" b="1"/>
              <a:t>-</a:t>
            </a:r>
            <a:r>
              <a:rPr lang="zh-CN" altLang="en-US" b="1"/>
              <a:t>撒克逊人入侵</a:t>
            </a:r>
            <a:endParaRPr lang="zh-CN" altLang="en-US" b="1"/>
          </a:p>
          <a:p>
            <a:pPr algn="ctr"/>
            <a:endParaRPr lang="zh-CN" altLang="en-US" b="1"/>
          </a:p>
          <a:p>
            <a:pPr algn="ctr"/>
            <a:endParaRPr lang="zh-CN" altLang="en-US" b="1"/>
          </a:p>
          <a:p>
            <a:pPr algn="ctr"/>
            <a:endParaRPr lang="zh-CN" altLang="en-US" b="1"/>
          </a:p>
          <a:p>
            <a:pPr algn="ctr"/>
            <a:r>
              <a:rPr lang="zh-CN" altLang="en-US" b="1"/>
              <a:t>诺曼征服</a:t>
            </a:r>
            <a:endParaRPr lang="zh-CN" altLang="en-US" b="1"/>
          </a:p>
          <a:p>
            <a:pPr algn="ctr"/>
            <a:r>
              <a:rPr lang="en-US" altLang="zh-CN" b="1"/>
              <a:t>Norman conquest</a:t>
            </a:r>
            <a:endParaRPr lang="en-US" altLang="zh-CN" b="1"/>
          </a:p>
          <a:p>
            <a:pPr algn="ctr"/>
            <a:endParaRPr lang="en-US" altLang="zh-CN" b="1"/>
          </a:p>
          <a:p>
            <a:pPr algn="ctr"/>
            <a:endParaRPr lang="en-US" altLang="zh-CN" b="1"/>
          </a:p>
          <a:p>
            <a:pPr algn="ctr"/>
            <a:endParaRPr lang="zh-CN" altLang="en-US" b="1"/>
          </a:p>
          <a:p>
            <a:pPr algn="ctr"/>
            <a:r>
              <a:rPr lang="zh-CN" altLang="en-US" b="1"/>
              <a:t>文艺复兴</a:t>
            </a:r>
            <a:endParaRPr lang="zh-CN" altLang="en-US" b="1"/>
          </a:p>
          <a:p>
            <a:pPr algn="ctr"/>
            <a:endParaRPr lang="zh-CN" altLang="en-US" b="1"/>
          </a:p>
        </p:txBody>
      </p:sp>
      <p:sp>
        <p:nvSpPr>
          <p:cNvPr id="10" name="下箭头 9"/>
          <p:cNvSpPr/>
          <p:nvPr/>
        </p:nvSpPr>
        <p:spPr>
          <a:xfrm>
            <a:off x="1488440" y="1334135"/>
            <a:ext cx="366395" cy="45148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1" name="下箭头 10"/>
          <p:cNvSpPr/>
          <p:nvPr/>
        </p:nvSpPr>
        <p:spPr>
          <a:xfrm>
            <a:off x="1488440" y="2779395"/>
            <a:ext cx="366395" cy="45148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13" name="动作按钮: 上一张 12">
            <a:hlinkClick r:id="" action="ppaction://hlinkshowjump?jump=previousslide"/>
          </p:cNvPr>
          <p:cNvSpPr/>
          <p:nvPr/>
        </p:nvSpPr>
        <p:spPr>
          <a:xfrm>
            <a:off x="11119485" y="5808345"/>
            <a:ext cx="710565" cy="775335"/>
          </a:xfrm>
          <a:prstGeom prst="actionButtonReturn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 build="p"/>
      <p:bldP spid="9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内容占位符 5"/>
          <p:cNvPicPr>
            <a:picLocks noChangeAspect="1"/>
          </p:cNvPicPr>
          <p:nvPr>
            <p:ph sz="quarter" idx="13"/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525905" y="178435"/>
            <a:ext cx="9436735" cy="6186170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8344535" y="5876925"/>
            <a:ext cx="2618105" cy="4876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sz="3600"/>
              <a:t>Quiz</a:t>
            </a:r>
            <a:r>
              <a:rPr lang="en-US" altLang="zh-CN"/>
              <a:t> 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p>
            <a:r>
              <a:rPr lang="en-US" altLang="zh-CN" sz="3600"/>
              <a:t>The medical term AIDS (adquired immunodeficiency syndrome) is an example of a(an):</a:t>
            </a:r>
            <a:endParaRPr lang="en-US" altLang="zh-CN" sz="3600"/>
          </a:p>
          <a:p>
            <a:r>
              <a:rPr lang="en-US" altLang="zh-CN" sz="3600"/>
              <a:t>A. Term built from word parts</a:t>
            </a:r>
            <a:endParaRPr lang="en-US" altLang="zh-CN" sz="3600"/>
          </a:p>
          <a:p>
            <a:r>
              <a:rPr lang="en-US" altLang="zh-CN" sz="3600"/>
              <a:t>B. Acronym</a:t>
            </a:r>
            <a:endParaRPr lang="en-US" altLang="zh-CN" sz="3600"/>
          </a:p>
          <a:p>
            <a:r>
              <a:rPr lang="en-US" altLang="zh-CN" sz="3600"/>
              <a:t>C. Eponym</a:t>
            </a:r>
            <a:endParaRPr lang="en-US" altLang="zh-CN" sz="3600"/>
          </a:p>
          <a:p>
            <a:r>
              <a:rPr lang="en-US" altLang="zh-CN" sz="3600"/>
              <a:t>D. Term taken from modern language</a:t>
            </a:r>
            <a:endParaRPr lang="en-US" altLang="zh-CN" sz="360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6" name="五角星 5"/>
          <p:cNvSpPr/>
          <p:nvPr/>
        </p:nvSpPr>
        <p:spPr>
          <a:xfrm>
            <a:off x="276225" y="3347720"/>
            <a:ext cx="561975" cy="39624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18334" y="3591493"/>
            <a:ext cx="5419185" cy="895350"/>
          </a:xfrm>
        </p:spPr>
        <p:txBody>
          <a:bodyPr/>
          <a:p>
            <a:r>
              <a:rPr lang="zh-CN" altLang="en-US" sz="3600"/>
              <a:t>医学英语词汇的五大特点</a:t>
            </a:r>
            <a:endParaRPr lang="zh-CN" altLang="en-US" sz="36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字占位符 1"/>
          <p:cNvSpPr>
            <a:spLocks noGrp="1"/>
          </p:cNvSpPr>
          <p:nvPr>
            <p:ph type="body" orient="vert" idx="1"/>
          </p:nvPr>
        </p:nvSpPr>
        <p:spPr>
          <a:xfrm>
            <a:off x="729615" y="1488440"/>
            <a:ext cx="5864860" cy="4352925"/>
          </a:xfrm>
        </p:spPr>
        <p:txBody>
          <a:bodyPr>
            <a:normAutofit lnSpcReduction="20000"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1.</a:t>
            </a:r>
            <a:r>
              <a:rPr lang="zh-CN" altLang="en-US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大量外来词</a:t>
            </a:r>
            <a:endParaRPr lang="en-US" altLang="zh-CN" sz="32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3200" b="1" dirty="0" err="1" smtClean="0">
                <a:solidFill>
                  <a:srgbClr val="2950B2"/>
                </a:solidFill>
                <a:cs typeface="Times New Roman" panose="02020603050405020304" pitchFamily="18" charset="0"/>
              </a:rPr>
              <a:t>Gua</a:t>
            </a: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 </a:t>
            </a:r>
            <a:r>
              <a:rPr lang="en-US" altLang="zh-CN" sz="3200" b="1" dirty="0" err="1" smtClean="0">
                <a:solidFill>
                  <a:srgbClr val="2950B2"/>
                </a:solidFill>
                <a:cs typeface="Times New Roman" panose="02020603050405020304" pitchFamily="18" charset="0"/>
              </a:rPr>
              <a:t>Sha</a:t>
            </a:r>
            <a:endParaRPr lang="en-US" altLang="zh-CN" sz="32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massage [ˈ</a:t>
            </a:r>
            <a:r>
              <a:rPr lang="en-US" altLang="zh-CN" sz="3200" b="1" dirty="0" err="1" smtClean="0">
                <a:solidFill>
                  <a:srgbClr val="2950B2"/>
                </a:solidFill>
                <a:cs typeface="Times New Roman" panose="02020603050405020304" pitchFamily="18" charset="0"/>
              </a:rPr>
              <a:t>mæsɑːʒ</a:t>
            </a: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] influenza [ˌ</a:t>
            </a:r>
            <a:r>
              <a:rPr lang="en-US" altLang="zh-CN" sz="3200" b="1" dirty="0" err="1" smtClean="0">
                <a:solidFill>
                  <a:srgbClr val="2950B2"/>
                </a:solidFill>
                <a:cs typeface="Times New Roman" panose="02020603050405020304" pitchFamily="18" charset="0"/>
              </a:rPr>
              <a:t>ɪnfluˈenzə</a:t>
            </a: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] quinine [ˈ</a:t>
            </a:r>
            <a:r>
              <a:rPr lang="en-US" altLang="zh-CN" sz="3200" b="1" dirty="0" err="1" smtClean="0">
                <a:solidFill>
                  <a:srgbClr val="2950B2"/>
                </a:solidFill>
                <a:cs typeface="Times New Roman" panose="02020603050405020304" pitchFamily="18" charset="0"/>
              </a:rPr>
              <a:t>kwɪnain</a:t>
            </a: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] </a:t>
            </a:r>
            <a:endParaRPr lang="en-US" altLang="zh-CN" sz="32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abdomen [ˈ</a:t>
            </a:r>
            <a:r>
              <a:rPr lang="en-US" altLang="zh-CN" sz="3200" b="1" dirty="0" err="1" smtClean="0">
                <a:solidFill>
                  <a:srgbClr val="2950B2"/>
                </a:solidFill>
                <a:cs typeface="Times New Roman" panose="02020603050405020304" pitchFamily="18" charset="0"/>
              </a:rPr>
              <a:t>æbdəmən</a:t>
            </a:r>
            <a:r>
              <a:rPr lang="en-US" altLang="zh-CN" sz="32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] </a:t>
            </a:r>
            <a:endParaRPr lang="zh-CN" altLang="en-US" sz="3200" b="1" dirty="0">
              <a:solidFill>
                <a:srgbClr val="2950B2"/>
              </a:solidFill>
              <a:cs typeface="Times New Roman" panose="02020603050405020304" pitchFamily="18" charset="0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374480" y="143463"/>
            <a:ext cx="9715568" cy="785810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rgbClr val="C00000"/>
                </a:solidFill>
              </a:rPr>
              <a:t>医护英语词汇的五个特点</a:t>
            </a:r>
            <a:endParaRPr lang="zh-CN" altLang="en-US" sz="3600" dirty="0">
              <a:solidFill>
                <a:srgbClr val="C00000"/>
              </a:solidFill>
            </a:endParaRPr>
          </a:p>
        </p:txBody>
      </p:sp>
      <p:sp>
        <p:nvSpPr>
          <p:cNvPr id="4" name="竖排文字占位符 1"/>
          <p:cNvSpPr>
            <a:spLocks noGrp="1"/>
          </p:cNvSpPr>
          <p:nvPr/>
        </p:nvSpPr>
        <p:spPr>
          <a:xfrm>
            <a:off x="6255385" y="2048510"/>
            <a:ext cx="4600575" cy="4352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</a:pPr>
            <a:r>
              <a:rPr lang="zh-CN" altLang="en-US" sz="28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（刮痧）源自中文</a:t>
            </a:r>
            <a:endParaRPr lang="en-US" altLang="zh-CN" sz="28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8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（按摩）源自法语</a:t>
            </a:r>
            <a:endParaRPr lang="en-US" altLang="zh-CN" sz="28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8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（流感）源自意大利语</a:t>
            </a:r>
            <a:endParaRPr lang="en-US" altLang="zh-CN" sz="28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8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（奎宁）源自西班牙语</a:t>
            </a:r>
            <a:endParaRPr lang="en-US" altLang="zh-CN" sz="2800" b="1" dirty="0" smtClean="0">
              <a:solidFill>
                <a:srgbClr val="2950B2"/>
              </a:solidFill>
              <a:cs typeface="Times New Roman" panose="02020603050405020304" pitchFamily="18" charset="0"/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2800" b="1" dirty="0" smtClean="0">
                <a:solidFill>
                  <a:srgbClr val="2950B2"/>
                </a:solidFill>
                <a:cs typeface="Times New Roman" panose="02020603050405020304" pitchFamily="18" charset="0"/>
              </a:rPr>
              <a:t>（腹部）源自拉丁语</a:t>
            </a:r>
            <a:endParaRPr lang="zh-CN" altLang="en-US" sz="2800" b="1" dirty="0">
              <a:solidFill>
                <a:srgbClr val="2950B2"/>
              </a:solidFill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2" grpId="1" build="p"/>
      <p:bldP spid="4" grpId="0" build="p"/>
      <p:bldP spid="4" grpId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字占位符 1"/>
          <p:cNvSpPr>
            <a:spLocks noGrp="1"/>
          </p:cNvSpPr>
          <p:nvPr>
            <p:ph type="body" orient="vert" idx="1"/>
          </p:nvPr>
        </p:nvSpPr>
        <p:spPr>
          <a:xfrm>
            <a:off x="713740" y="1104900"/>
            <a:ext cx="11370310" cy="5184775"/>
          </a:xfrm>
        </p:spPr>
        <p:txBody>
          <a:bodyPr>
            <a:norm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3200" b="1" dirty="0" smtClean="0">
                <a:solidFill>
                  <a:srgbClr val="2950B2"/>
                </a:solidFill>
              </a:rPr>
              <a:t>2.</a:t>
            </a:r>
            <a:r>
              <a:rPr lang="zh-CN" altLang="en-US" sz="3200" b="1" dirty="0" smtClean="0">
                <a:solidFill>
                  <a:srgbClr val="2950B2"/>
                </a:solidFill>
              </a:rPr>
              <a:t>包含大量词根词缀</a:t>
            </a:r>
            <a:r>
              <a:rPr lang="en-US" altLang="zh-CN" sz="3200" b="1" dirty="0" smtClean="0">
                <a:solidFill>
                  <a:srgbClr val="2950B2"/>
                </a:solidFill>
              </a:rPr>
              <a:t> </a:t>
            </a:r>
            <a:endParaRPr lang="en-US" altLang="zh-CN" sz="3200" b="1" dirty="0" smtClean="0">
              <a:solidFill>
                <a:srgbClr val="2950B2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32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  <a:sym typeface="+mn-ea"/>
              </a:rPr>
              <a:t>Word Formation:</a:t>
            </a:r>
            <a:r>
              <a:rPr lang="en-US" altLang="zh-CN" sz="3200" dirty="0">
                <a:solidFill>
                  <a:srgbClr val="663300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3200" b="1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Derivaion</a:t>
            </a:r>
            <a:r>
              <a:rPr lang="zh-CN" altLang="en-US" sz="3200" b="1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（缀合法或派生法）</a:t>
            </a:r>
            <a:endParaRPr lang="en-US" altLang="zh-CN" sz="3200" b="1" dirty="0" smtClean="0">
              <a:solidFill>
                <a:srgbClr val="2950B2"/>
              </a:solidFill>
            </a:endParaRPr>
          </a:p>
          <a:p>
            <a:endParaRPr lang="zh-CN" altLang="en-US" sz="3200" b="1" dirty="0">
              <a:solidFill>
                <a:srgbClr val="2950B2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713757" y="114280"/>
            <a:ext cx="9715568" cy="785810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rgbClr val="C00000"/>
                </a:solidFill>
              </a:rPr>
              <a:t>医护英语词汇的五个特点</a:t>
            </a:r>
            <a:endParaRPr lang="zh-CN" altLang="en-US" sz="3600" dirty="0">
              <a:solidFill>
                <a:srgbClr val="C00000"/>
              </a:solidFill>
            </a:endParaRPr>
          </a:p>
        </p:txBody>
      </p:sp>
      <p:pic>
        <p:nvPicPr>
          <p:cNvPr id="100" name="图片 99"/>
          <p:cNvPicPr/>
          <p:nvPr/>
        </p:nvPicPr>
        <p:blipFill>
          <a:blip r:embed="rId1"/>
          <a:stretch>
            <a:fillRect/>
          </a:stretch>
        </p:blipFill>
        <p:spPr>
          <a:xfrm>
            <a:off x="10104755" y="3921125"/>
            <a:ext cx="1776095" cy="229933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  <p:bldLst>
      <p:bldP spid="2" grpI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文本占位符 1"/>
          <p:cNvSpPr>
            <a:spLocks noGrp="1"/>
          </p:cNvSpPr>
          <p:nvPr>
            <p:ph type="body" orient="vert" idx="1"/>
          </p:nvPr>
        </p:nvSpPr>
        <p:spPr>
          <a:xfrm>
            <a:off x="558165" y="1285875"/>
            <a:ext cx="10850880" cy="5292090"/>
          </a:xfrm>
        </p:spPr>
        <p:txBody>
          <a:bodyPr/>
          <a:p>
            <a:r>
              <a:rPr lang="zh-CN" altLang="en-US" sz="2800"/>
              <a:t>英语词汇由两个主要部分构成：词根（root）和词缀（affix）。</a:t>
            </a:r>
            <a:endParaRPr lang="zh-CN" altLang="en-US" sz="2800"/>
          </a:p>
          <a:p>
            <a:r>
              <a:rPr lang="zh-CN" altLang="en-US" sz="2800"/>
              <a:t>1. 词根：。</a:t>
            </a:r>
            <a:endParaRPr lang="zh-CN" altLang="en-US" sz="2800"/>
          </a:p>
          <a:p>
            <a:r>
              <a:rPr lang="zh-CN" altLang="en-US" sz="2800"/>
              <a:t>英语单词的中心，是不可拆分的基础部分，通常是来自拉丁语、希腊语或英语自身的词元，它们有自己独特的意义。如：。</a:t>
            </a:r>
            <a:endParaRPr lang="zh-CN" altLang="en-US" sz="2800"/>
          </a:p>
          <a:p>
            <a:r>
              <a:rPr lang="zh-CN" altLang="en-US" sz="2800"/>
              <a:t>- struct（建造、构建）：construct（建造）、destruction（毁灭）、instruct（指导）。</a:t>
            </a:r>
            <a:endParaRPr lang="zh-CN" altLang="en-US" sz="2800"/>
          </a:p>
          <a:p>
            <a:r>
              <a:rPr lang="zh-CN" altLang="en-US" sz="2800"/>
              <a:t>- dent（牙、齿）：dentist（牙科医生）、dental（牙科的）、denture（假牙）。</a:t>
            </a:r>
            <a:endParaRPr lang="zh-CN" altLang="en-US" sz="2800"/>
          </a:p>
          <a:p>
            <a:endParaRPr lang="zh-CN" altLang="en-US" sz="280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669255" y="166985"/>
            <a:ext cx="9715568" cy="785810"/>
          </a:xfrm>
        </p:spPr>
        <p:txBody>
          <a:bodyPr/>
          <a:p>
            <a:r>
              <a:rPr lang="zh-CN" altLang="en-US"/>
              <a:t>英语词汇的构成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>
              <a:defRPr/>
            </a:pPr>
            <a:fld id="{E275F368-C03A-42E9-8868-9BCF35D39B2E}" type="slidenum">
              <a:rPr lang="zh-CN" altLang="en-US"/>
            </a:fld>
            <a:endParaRPr lang="en-US" altLang="zh-CN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文本占位符 1"/>
          <p:cNvSpPr>
            <a:spLocks noGrp="1"/>
          </p:cNvSpPr>
          <p:nvPr>
            <p:ph type="body" orient="vert" idx="1"/>
          </p:nvPr>
        </p:nvSpPr>
        <p:spPr>
          <a:xfrm>
            <a:off x="558165" y="1285875"/>
            <a:ext cx="10850880" cy="5292090"/>
          </a:xfrm>
        </p:spPr>
        <p:txBody>
          <a:bodyPr/>
          <a:p>
            <a:r>
              <a:rPr lang="zh-CN" altLang="en-US" sz="2800"/>
              <a:t>英语词汇由两个主要部分构成：词根（root）和词缀（affix）。</a:t>
            </a:r>
            <a:endParaRPr lang="zh-CN" altLang="en-US" sz="2800"/>
          </a:p>
          <a:p>
            <a:r>
              <a:rPr lang="zh-CN" altLang="en-US" sz="2800"/>
              <a:t>2. 词缀：。</a:t>
            </a:r>
            <a:endParaRPr lang="zh-CN" altLang="en-US" sz="2800"/>
          </a:p>
          <a:p>
            <a:r>
              <a:rPr lang="zh-CN" altLang="en-US" sz="2800"/>
              <a:t>是附在词根前后进行的形态变化，它们可以改变单词的词性、时态、数量等。通常有前缀和后缀两种，如：。</a:t>
            </a:r>
            <a:endParaRPr lang="zh-CN" altLang="en-US" sz="2800"/>
          </a:p>
          <a:p>
            <a:r>
              <a:rPr lang="zh-CN" altLang="en-US" sz="2800"/>
              <a:t>- 前缀（prefix）：附在词根前，如un-（不）：unhappy（不开心）、unfair（不公平）、unrealistic（不现实的）。</a:t>
            </a:r>
            <a:endParaRPr lang="zh-CN" altLang="en-US" sz="2800"/>
          </a:p>
          <a:p>
            <a:r>
              <a:rPr lang="zh-CN" altLang="en-US" sz="2800"/>
              <a:t>- 后缀（suffix）：附在词根后，如-able（能够）：comfortable（舒适的）、admirable（令人钦佩的）、tolerable（能容忍的）。</a:t>
            </a:r>
            <a:endParaRPr lang="zh-CN" altLang="en-US" sz="2800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669255" y="166985"/>
            <a:ext cx="9715568" cy="785810"/>
          </a:xfrm>
        </p:spPr>
        <p:txBody>
          <a:bodyPr/>
          <a:p>
            <a:r>
              <a:rPr lang="zh-CN" altLang="en-US"/>
              <a:t>英语词汇的构成</a:t>
            </a: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p>
            <a:pPr>
              <a:defRPr/>
            </a:pPr>
            <a:fld id="{E275F368-C03A-42E9-8868-9BCF35D39B2E}" type="slidenum">
              <a:rPr lang="zh-CN" altLang="en-US"/>
            </a:fld>
            <a:endParaRPr lang="en-US" altLang="zh-CN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字占位符 1"/>
          <p:cNvSpPr>
            <a:spLocks noGrp="1"/>
          </p:cNvSpPr>
          <p:nvPr>
            <p:ph type="body" orient="vert" idx="1"/>
          </p:nvPr>
        </p:nvSpPr>
        <p:spPr>
          <a:xfrm>
            <a:off x="713740" y="1104900"/>
            <a:ext cx="11370310" cy="5184775"/>
          </a:xfrm>
        </p:spPr>
        <p:txBody>
          <a:bodyPr>
            <a:normAutofit/>
          </a:bodyPr>
          <a:lstStyle/>
          <a:p>
            <a:pPr fontAlgn="auto">
              <a:lnSpc>
                <a:spcPct val="150000"/>
              </a:lnSpc>
            </a:pPr>
            <a:r>
              <a:rPr lang="en-US" altLang="zh-CN" sz="3200" b="1" dirty="0" smtClean="0">
                <a:solidFill>
                  <a:srgbClr val="2950B2"/>
                </a:solidFill>
              </a:rPr>
              <a:t>2.</a:t>
            </a:r>
            <a:r>
              <a:rPr lang="zh-CN" altLang="en-US" sz="3200" b="1" dirty="0" smtClean="0">
                <a:solidFill>
                  <a:srgbClr val="2950B2"/>
                </a:solidFill>
              </a:rPr>
              <a:t>包含大量词根词缀</a:t>
            </a:r>
            <a:r>
              <a:rPr lang="en-US" altLang="zh-CN" sz="3200" b="1" dirty="0" smtClean="0">
                <a:solidFill>
                  <a:srgbClr val="2950B2"/>
                </a:solidFill>
              </a:rPr>
              <a:t> </a:t>
            </a:r>
            <a:endParaRPr lang="en-US" altLang="zh-CN" sz="3200" b="1" dirty="0" smtClean="0">
              <a:solidFill>
                <a:srgbClr val="2950B2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en-US" altLang="zh-CN" sz="32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  <a:sym typeface="+mn-ea"/>
              </a:rPr>
              <a:t>Word Formation:</a:t>
            </a:r>
            <a:r>
              <a:rPr lang="en-US" altLang="zh-CN" sz="3200" dirty="0">
                <a:solidFill>
                  <a:srgbClr val="663300"/>
                </a:solidFill>
                <a:ea typeface="宋体" panose="02010600030101010101" pitchFamily="2" charset="-122"/>
                <a:sym typeface="+mn-ea"/>
              </a:rPr>
              <a:t> </a:t>
            </a:r>
            <a:r>
              <a:rPr lang="en-US" altLang="zh-CN" sz="3200" b="1" dirty="0" err="1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Derivaion</a:t>
            </a:r>
            <a:r>
              <a:rPr lang="zh-CN" altLang="en-US" sz="3200" b="1" dirty="0">
                <a:solidFill>
                  <a:srgbClr val="FF0000"/>
                </a:solidFill>
                <a:ea typeface="宋体" panose="02010600030101010101" pitchFamily="2" charset="-122"/>
                <a:sym typeface="+mn-ea"/>
              </a:rPr>
              <a:t>（缀合法或派生法）</a:t>
            </a:r>
            <a:endParaRPr lang="en-US" altLang="zh-CN" sz="3200" b="1" dirty="0" smtClean="0">
              <a:solidFill>
                <a:srgbClr val="2950B2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3200" b="1" dirty="0">
                <a:solidFill>
                  <a:srgbClr val="FF0000"/>
                </a:solidFill>
              </a:rPr>
              <a:t>thoraco</a:t>
            </a:r>
            <a:r>
              <a:rPr lang="zh-CN" altLang="en-US" sz="3200" b="1" u="sng" dirty="0">
                <a:solidFill>
                  <a:srgbClr val="2950B2"/>
                </a:solidFill>
              </a:rPr>
              <a:t>scopy</a:t>
            </a:r>
            <a:r>
              <a:rPr lang="zh-CN" altLang="en-US" sz="3200" b="1" dirty="0">
                <a:solidFill>
                  <a:srgbClr val="2950B2"/>
                </a:solidFill>
              </a:rPr>
              <a:t>： 胸腔镜检查</a:t>
            </a:r>
            <a:r>
              <a:rPr lang="en-US" altLang="zh-CN" sz="3200" b="1" dirty="0">
                <a:solidFill>
                  <a:srgbClr val="2950B2"/>
                </a:solidFill>
              </a:rPr>
              <a:t> </a:t>
            </a:r>
            <a:r>
              <a:rPr lang="zh-CN" altLang="en-US" sz="3200" b="1" dirty="0">
                <a:solidFill>
                  <a:srgbClr val="2950B2"/>
                </a:solidFill>
                <a:sym typeface="+mn-ea"/>
              </a:rPr>
              <a:t>/θɔ:rə'kɔskəpi/</a:t>
            </a:r>
            <a:endParaRPr lang="zh-CN" altLang="en-US" sz="3200" b="1" dirty="0">
              <a:solidFill>
                <a:srgbClr val="2950B2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3200" b="1" u="sng" dirty="0">
                <a:solidFill>
                  <a:srgbClr val="2950B2"/>
                </a:solidFill>
              </a:rPr>
              <a:t>hyper</a:t>
            </a:r>
            <a:r>
              <a:rPr lang="zh-CN" altLang="en-US" sz="3200" b="1" dirty="0">
                <a:solidFill>
                  <a:srgbClr val="FF0000"/>
                </a:solidFill>
              </a:rPr>
              <a:t>plasia</a:t>
            </a:r>
            <a:r>
              <a:rPr lang="zh-CN" altLang="en-US" sz="3200" b="1" dirty="0">
                <a:solidFill>
                  <a:srgbClr val="2950B2"/>
                </a:solidFill>
              </a:rPr>
              <a:t>： 增生,过度增生</a:t>
            </a:r>
            <a:r>
              <a:rPr lang="en-US" altLang="zh-CN" sz="3200" b="1" dirty="0">
                <a:solidFill>
                  <a:srgbClr val="2950B2"/>
                </a:solidFill>
              </a:rPr>
              <a:t> /ˌhaɪpəˈpleɪʒə/</a:t>
            </a:r>
            <a:endParaRPr lang="en-US" altLang="zh-CN" sz="3200" b="1" dirty="0">
              <a:solidFill>
                <a:srgbClr val="2950B2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3200" b="1" u="sng" dirty="0">
                <a:solidFill>
                  <a:srgbClr val="2950B2"/>
                </a:solidFill>
              </a:rPr>
              <a:t>anti</a:t>
            </a:r>
            <a:r>
              <a:rPr lang="zh-CN" altLang="en-US" sz="3200" b="1" dirty="0">
                <a:solidFill>
                  <a:srgbClr val="FF0000"/>
                </a:solidFill>
              </a:rPr>
              <a:t>body</a:t>
            </a:r>
            <a:r>
              <a:rPr lang="zh-CN" altLang="en-US" sz="3200" b="1" dirty="0">
                <a:solidFill>
                  <a:srgbClr val="2950B2"/>
                </a:solidFill>
              </a:rPr>
              <a:t>： 抗体</a:t>
            </a:r>
            <a:endParaRPr lang="zh-CN" altLang="en-US" sz="3200" b="1" dirty="0">
              <a:solidFill>
                <a:srgbClr val="2950B2"/>
              </a:solidFill>
            </a:endParaRPr>
          </a:p>
          <a:p>
            <a:pPr fontAlgn="auto">
              <a:lnSpc>
                <a:spcPct val="150000"/>
              </a:lnSpc>
            </a:pPr>
            <a:r>
              <a:rPr lang="zh-CN" altLang="en-US" sz="3200" b="1" dirty="0">
                <a:solidFill>
                  <a:srgbClr val="FF0000"/>
                </a:solidFill>
              </a:rPr>
              <a:t>cardi</a:t>
            </a:r>
            <a:r>
              <a:rPr lang="zh-CN" altLang="en-US" sz="3200" b="1" u="sng" dirty="0">
                <a:solidFill>
                  <a:srgbClr val="FF0000"/>
                </a:solidFill>
              </a:rPr>
              <a:t>o</a:t>
            </a:r>
            <a:r>
              <a:rPr lang="zh-CN" altLang="en-US" sz="3200" b="1" dirty="0">
                <a:solidFill>
                  <a:schemeClr val="accent4">
                    <a:lumMod val="50000"/>
                  </a:schemeClr>
                </a:solidFill>
              </a:rPr>
              <a:t>phon</a:t>
            </a:r>
            <a:r>
              <a:rPr lang="zh-CN" altLang="en-US" sz="3200" b="1" u="sng" dirty="0">
                <a:solidFill>
                  <a:schemeClr val="accent4">
                    <a:lumMod val="50000"/>
                  </a:schemeClr>
                </a:solidFill>
              </a:rPr>
              <a:t>o</a:t>
            </a:r>
            <a:r>
              <a:rPr lang="zh-CN" altLang="en-US" sz="3200" b="1" u="sng" dirty="0">
                <a:solidFill>
                  <a:srgbClr val="2950B2"/>
                </a:solidFill>
              </a:rPr>
              <a:t>graphy</a:t>
            </a:r>
            <a:r>
              <a:rPr lang="zh-CN" altLang="en-US" sz="3200" b="1" dirty="0">
                <a:solidFill>
                  <a:srgbClr val="2950B2"/>
                </a:solidFill>
              </a:rPr>
              <a:t>： 心音图</a:t>
            </a:r>
            <a:endParaRPr lang="zh-CN" altLang="en-US" sz="3200" b="1" dirty="0">
              <a:solidFill>
                <a:srgbClr val="2950B2"/>
              </a:solidFill>
            </a:endParaRPr>
          </a:p>
          <a:p>
            <a:endParaRPr lang="zh-CN" altLang="en-US" sz="3200" b="1" dirty="0">
              <a:solidFill>
                <a:srgbClr val="2950B2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713757" y="114280"/>
            <a:ext cx="9715568" cy="785810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rgbClr val="C00000"/>
                </a:solidFill>
              </a:rPr>
              <a:t>医护英语词汇的五个特点</a:t>
            </a:r>
            <a:endParaRPr lang="zh-CN" altLang="en-US" sz="3600" dirty="0">
              <a:solidFill>
                <a:srgbClr val="C00000"/>
              </a:solidFill>
            </a:endParaRPr>
          </a:p>
        </p:txBody>
      </p:sp>
      <p:pic>
        <p:nvPicPr>
          <p:cNvPr id="100" name="图片 99"/>
          <p:cNvPicPr/>
          <p:nvPr/>
        </p:nvPicPr>
        <p:blipFill>
          <a:blip r:embed="rId1"/>
          <a:stretch>
            <a:fillRect/>
          </a:stretch>
        </p:blipFill>
        <p:spPr>
          <a:xfrm>
            <a:off x="10104755" y="3921125"/>
            <a:ext cx="1776095" cy="229933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  <p:bldLst>
      <p:bldP spid="2" grpI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Components of A Medical Word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1197610" y="1657984"/>
            <a:ext cx="10850563" cy="5006975"/>
          </a:xfrm>
        </p:spPr>
        <p:txBody>
          <a:bodyPr/>
          <a:p>
            <a:r>
              <a:rPr lang="en-US" altLang="zh-CN" sz="3600"/>
              <a:t>Prefix</a:t>
            </a:r>
            <a:endParaRPr lang="en-US" altLang="zh-CN" sz="3600"/>
          </a:p>
          <a:p>
            <a:r>
              <a:rPr lang="en-US" altLang="zh-CN" sz="3600"/>
              <a:t>Root </a:t>
            </a:r>
            <a:endParaRPr lang="en-US" altLang="zh-CN" sz="3600"/>
          </a:p>
          <a:p>
            <a:r>
              <a:rPr lang="en-US" altLang="zh-CN" sz="3600"/>
              <a:t>Suffix</a:t>
            </a:r>
            <a:endParaRPr lang="en-US" altLang="zh-CN" sz="3600"/>
          </a:p>
          <a:p>
            <a:r>
              <a:rPr lang="en-US" altLang="zh-CN" sz="3600"/>
              <a:t>Combining vowel</a:t>
            </a:r>
            <a:endParaRPr lang="en-US" altLang="zh-CN" sz="360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endParaRPr lang="zh-CN" altLang="en-US"/>
          </a:p>
        </p:txBody>
      </p:sp>
      <p:pic>
        <p:nvPicPr>
          <p:cNvPr id="100" name="图片 99"/>
          <p:cNvPicPr/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1536700" y="0"/>
            <a:ext cx="9130665" cy="690943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" name="文本框 3"/>
          <p:cNvSpPr txBox="1"/>
          <p:nvPr/>
        </p:nvSpPr>
        <p:spPr>
          <a:xfrm>
            <a:off x="6600190" y="5156835"/>
            <a:ext cx="3727450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600">
                <a:solidFill>
                  <a:schemeClr val="tx1"/>
                </a:solidFill>
              </a:rPr>
              <a:t>My name is ...</a:t>
            </a:r>
            <a:endParaRPr lang="en-US" altLang="zh-CN" sz="3600">
              <a:solidFill>
                <a:schemeClr val="tx1"/>
              </a:solidFill>
            </a:endParaRPr>
          </a:p>
          <a:p>
            <a:r>
              <a:rPr lang="en-US" altLang="zh-CN" sz="3600">
                <a:solidFill>
                  <a:schemeClr val="tx1"/>
                </a:solidFill>
              </a:rPr>
              <a:t>I am from ...</a:t>
            </a:r>
            <a:endParaRPr lang="en-US" altLang="zh-CN" sz="360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>
    <p:random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60705" y="447675"/>
            <a:ext cx="10850880" cy="491490"/>
          </a:xfrm>
        </p:spPr>
        <p:txBody>
          <a:bodyPr>
            <a:normAutofit fontScale="90000"/>
          </a:bodyPr>
          <a:p>
            <a:pPr algn="ctr"/>
            <a:r>
              <a:rPr lang="en-US" sz="3555">
                <a:sym typeface="+mn-ea"/>
              </a:rPr>
              <a:t>Root</a:t>
            </a:r>
            <a:endParaRPr lang="en-US" sz="3555">
              <a:sym typeface="+mn-ea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p>
            <a:pPr>
              <a:buFont typeface="Wingdings" panose="05000000000000000000" charset="0"/>
              <a:buChar char="ü"/>
            </a:pPr>
            <a:r>
              <a:rPr lang="en-US" altLang="zh-CN" sz="2800">
                <a:solidFill>
                  <a:schemeClr val="accent4">
                    <a:lumMod val="50000"/>
                  </a:schemeClr>
                </a:solidFill>
              </a:rPr>
              <a:t>Usually refers to a body part</a:t>
            </a:r>
            <a:endParaRPr lang="en-US" altLang="zh-CN" sz="2800">
              <a:solidFill>
                <a:schemeClr val="accent4">
                  <a:lumMod val="50000"/>
                </a:schemeClr>
              </a:solidFill>
            </a:endParaRPr>
          </a:p>
          <a:p>
            <a:pPr>
              <a:buFont typeface="Wingdings" panose="05000000000000000000" charset="0"/>
              <a:buChar char="ü"/>
            </a:pPr>
            <a:r>
              <a:rPr lang="en-US" altLang="zh-CN" sz="2800">
                <a:solidFill>
                  <a:schemeClr val="accent4">
                    <a:lumMod val="50000"/>
                  </a:schemeClr>
                </a:solidFill>
              </a:rPr>
              <a:t>May also refer to quantity, colour, position or description</a:t>
            </a:r>
            <a:endParaRPr lang="en-US" altLang="zh-CN" sz="2800">
              <a:solidFill>
                <a:schemeClr val="accent4">
                  <a:lumMod val="50000"/>
                </a:schemeClr>
              </a:solidFill>
            </a:endParaRPr>
          </a:p>
          <a:p>
            <a:pPr>
              <a:buFont typeface="Wingdings" panose="05000000000000000000" charset="0"/>
              <a:buChar char="ü"/>
            </a:pPr>
            <a:r>
              <a:rPr lang="en-US" altLang="zh-CN" sz="2800">
                <a:solidFill>
                  <a:schemeClr val="accent4">
                    <a:lumMod val="50000"/>
                  </a:schemeClr>
                </a:solidFill>
              </a:rPr>
              <a:t>Many are derived from Latin and Greek</a:t>
            </a:r>
            <a:endParaRPr lang="en-US" altLang="zh-CN" sz="2800">
              <a:solidFill>
                <a:schemeClr val="accent4">
                  <a:lumMod val="50000"/>
                </a:schemeClr>
              </a:solidFill>
            </a:endParaRPr>
          </a:p>
          <a:p>
            <a:pPr>
              <a:buNone/>
            </a:pPr>
            <a:endParaRPr lang="en-US" altLang="zh-CN" sz="2800">
              <a:solidFill>
                <a:schemeClr val="accent4">
                  <a:lumMod val="50000"/>
                </a:schemeClr>
              </a:solidFill>
            </a:endParaRPr>
          </a:p>
          <a:p>
            <a:pPr>
              <a:buNone/>
            </a:pPr>
            <a:endParaRPr lang="en-US" altLang="zh-CN" sz="280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18895" y="2887345"/>
            <a:ext cx="9116695" cy="287337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78534" y="-99059"/>
            <a:ext cx="10850563" cy="1028699"/>
          </a:xfrm>
        </p:spPr>
        <p:txBody>
          <a:bodyPr/>
          <a:p>
            <a:pPr algn="ctr"/>
            <a:r>
              <a:rPr lang="en-US" altLang="zh-CN" sz="3600">
                <a:sym typeface="+mn-ea"/>
              </a:rPr>
              <a:t>Prefix</a:t>
            </a:r>
            <a:endParaRPr lang="zh-CN" altLang="en-US" sz="3600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669290" y="1130935"/>
            <a:ext cx="2799080" cy="5006975"/>
          </a:xfrm>
        </p:spPr>
        <p:txBody>
          <a:bodyPr/>
          <a:p>
            <a:pPr marL="0" indent="0">
              <a:buNone/>
            </a:pPr>
            <a:endParaRPr lang="en-US" altLang="zh-CN" sz="3200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number</a:t>
            </a:r>
            <a:endParaRPr lang="en-US" altLang="zh-CN" sz="3200" b="1" i="1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time</a:t>
            </a:r>
            <a:endParaRPr lang="en-US" altLang="zh-CN" sz="3200" b="1" i="1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position</a:t>
            </a:r>
            <a:endParaRPr lang="en-US" altLang="zh-CN" sz="3200" b="1" i="1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direction</a:t>
            </a:r>
            <a:endParaRPr lang="en-US" altLang="zh-CN" sz="3200" b="1" i="1"/>
          </a:p>
          <a:p>
            <a:pPr>
              <a:buNone/>
            </a:pPr>
            <a:endParaRPr lang="en-US" altLang="zh-CN" sz="3200" b="1" i="1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29940" y="1050290"/>
            <a:ext cx="8656320" cy="5807710"/>
          </a:xfrm>
        </p:spPr>
        <p:txBody>
          <a:bodyPr>
            <a:normAutofit fontScale="90000" lnSpcReduction="20000"/>
          </a:bodyPr>
          <a:p>
            <a:pPr fontAlgn="auto">
              <a:lnSpc>
                <a:spcPct val="100000"/>
              </a:lnSpc>
            </a:pPr>
            <a:r>
              <a:rPr lang="zh-CN" altLang="en-US" sz="2800" b="1" u="sng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表示否定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：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a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ab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an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anti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等；</a:t>
            </a:r>
            <a:endParaRPr lang="zh-CN" altLang="en-US" sz="2800" b="1" dirty="0">
              <a:solidFill>
                <a:schemeClr val="accent1">
                  <a:lumMod val="60000"/>
                  <a:lumOff val="40000"/>
                </a:schemeClr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如：</a:t>
            </a:r>
            <a:r>
              <a:rPr lang="en-US" altLang="zh-CN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abnormal</a:t>
            </a:r>
            <a:r>
              <a:rPr lang="zh-CN" altLang="en-US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，</a:t>
            </a:r>
            <a:r>
              <a:rPr lang="en-US" altLang="zh-CN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antibiotics</a:t>
            </a:r>
            <a:endParaRPr lang="en-US" altLang="zh-CN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2800" b="1" u="sng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表示低于、次于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：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sub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hypo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infra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等；</a:t>
            </a:r>
            <a:endParaRPr lang="zh-CN" altLang="en-US" sz="2800" b="1" dirty="0">
              <a:solidFill>
                <a:schemeClr val="accent1">
                  <a:lumMod val="60000"/>
                  <a:lumOff val="40000"/>
                </a:schemeClr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如：</a:t>
            </a:r>
            <a:r>
              <a:rPr lang="en-US" altLang="zh-CN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subconscious, hypotention</a:t>
            </a:r>
            <a:endParaRPr lang="en-US" altLang="zh-CN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endParaRPr lang="en-US" altLang="zh-CN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800" b="1" u="sng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表示内外、前后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：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inter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（中间），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endo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intra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（内），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extra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、</a:t>
            </a:r>
            <a:r>
              <a:rPr lang="en-US" altLang="zh-CN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ex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  <a:sym typeface="+mn-ea"/>
              </a:rPr>
              <a:t>（外）；</a:t>
            </a:r>
            <a:endParaRPr lang="zh-CN" altLang="en-US" sz="2800" b="1" dirty="0">
              <a:solidFill>
                <a:schemeClr val="accent1">
                  <a:lumMod val="60000"/>
                  <a:lumOff val="40000"/>
                </a:schemeClr>
              </a:solidFill>
              <a:ea typeface="宋体" panose="02010600030101010101" pitchFamily="2" charset="-122"/>
              <a:sym typeface="+mn-ea"/>
            </a:endParaRPr>
          </a:p>
          <a:p>
            <a:pPr marL="0" indent="0" fontAlgn="auto">
              <a:lnSpc>
                <a:spcPct val="100000"/>
              </a:lnSpc>
              <a:buNone/>
            </a:pPr>
            <a:r>
              <a:rPr lang="zh-CN" altLang="en-US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如：</a:t>
            </a:r>
            <a:r>
              <a:rPr lang="en-US" altLang="zh-CN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 </a:t>
            </a:r>
            <a:r>
              <a:rPr lang="zh-CN" altLang="en-US" sz="2800" b="1" dirty="0">
                <a:solidFill>
                  <a:srgbClr val="FF0000"/>
                </a:solidFill>
                <a:ea typeface="宋体" panose="02010600030101010101" pitchFamily="2" charset="-122"/>
              </a:rPr>
              <a:t>intramural</a:t>
            </a:r>
            <a:endParaRPr lang="zh-CN" altLang="en-US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 marL="0" indent="0" fontAlgn="auto">
              <a:lnSpc>
                <a:spcPct val="100000"/>
              </a:lnSpc>
              <a:buNone/>
            </a:pPr>
            <a:endParaRPr lang="zh-CN" altLang="en-US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2800" b="1" u="sng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表示数字</a:t>
            </a:r>
            <a:r>
              <a:rPr lang="zh-CN" altLang="en-US" sz="2800" b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：</a:t>
            </a:r>
            <a:endParaRPr lang="en-US" altLang="zh-CN" sz="2800" b="1" dirty="0">
              <a:solidFill>
                <a:schemeClr val="accent1">
                  <a:lumMod val="60000"/>
                  <a:lumOff val="40000"/>
                </a:schemeClr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r>
              <a:rPr lang="zh-CN" altLang="en-US" sz="2800" b="1" dirty="0">
                <a:solidFill>
                  <a:srgbClr val="3399FF"/>
                </a:solidFill>
                <a:ea typeface="宋体" panose="02010600030101010101" pitchFamily="2" charset="-122"/>
              </a:rPr>
              <a:t> </a:t>
            </a:r>
            <a:r>
              <a:rPr lang="en-US" altLang="zh-CN" sz="2800" b="1" dirty="0">
                <a:solidFill>
                  <a:srgbClr val="3399FF"/>
                </a:solidFill>
                <a:ea typeface="宋体" panose="02010600030101010101" pitchFamily="2" charset="-122"/>
              </a:rPr>
              <a:t>mono(</a:t>
            </a:r>
            <a:r>
              <a:rPr lang="zh-CN" altLang="en-US" sz="2800" b="1" dirty="0">
                <a:solidFill>
                  <a:srgbClr val="3399FF"/>
                </a:solidFill>
                <a:ea typeface="宋体" panose="02010600030101010101" pitchFamily="2" charset="-122"/>
              </a:rPr>
              <a:t>单</a:t>
            </a:r>
            <a:r>
              <a:rPr lang="en-US" altLang="zh-CN" sz="2800" b="1" dirty="0">
                <a:solidFill>
                  <a:srgbClr val="3399FF"/>
                </a:solidFill>
                <a:ea typeface="宋体" panose="02010600030101010101" pitchFamily="2" charset="-122"/>
              </a:rPr>
              <a:t>) </a:t>
            </a:r>
            <a:r>
              <a:rPr lang="en-US" altLang="zh-CN" sz="2800" b="1" u="sng" dirty="0">
                <a:solidFill>
                  <a:srgbClr val="0070C0"/>
                </a:solidFill>
                <a:ea typeface="宋体" panose="02010600030101010101" pitchFamily="2" charset="-122"/>
              </a:rPr>
              <a:t>mono</a:t>
            </a:r>
            <a:r>
              <a:rPr lang="en-US" altLang="zh-CN" sz="2800" b="1" dirty="0">
                <a:solidFill>
                  <a:srgbClr val="0070C0"/>
                </a:solidFill>
                <a:ea typeface="宋体" panose="02010600030101010101" pitchFamily="2" charset="-122"/>
              </a:rPr>
              <a:t>logue, </a:t>
            </a:r>
            <a:r>
              <a:rPr lang="en-US" altLang="zh-CN" sz="2800" b="1" u="sng" dirty="0">
                <a:solidFill>
                  <a:srgbClr val="0070C0"/>
                </a:solidFill>
                <a:ea typeface="宋体" panose="02010600030101010101" pitchFamily="2" charset="-122"/>
              </a:rPr>
              <a:t>dia</a:t>
            </a:r>
            <a:r>
              <a:rPr lang="en-US" altLang="zh-CN" sz="2800" b="1" dirty="0">
                <a:solidFill>
                  <a:srgbClr val="0070C0"/>
                </a:solidFill>
                <a:ea typeface="宋体" panose="02010600030101010101" pitchFamily="2" charset="-122"/>
              </a:rPr>
              <a:t>logue</a:t>
            </a:r>
            <a:endParaRPr lang="en-US" altLang="zh-CN" sz="2800" b="1" dirty="0">
              <a:solidFill>
                <a:srgbClr val="0070C0"/>
              </a:solidFill>
              <a:ea typeface="宋体" panose="02010600030101010101" pitchFamily="2" charset="-122"/>
            </a:endParaRPr>
          </a:p>
          <a:p>
            <a:pPr fontAlgn="auto">
              <a:lnSpc>
                <a:spcPct val="100000"/>
              </a:lnSpc>
            </a:pPr>
            <a:r>
              <a:rPr lang="en-US" altLang="zh-CN" sz="2800" b="1" dirty="0">
                <a:solidFill>
                  <a:srgbClr val="3399FF"/>
                </a:solidFill>
                <a:ea typeface="宋体" panose="02010600030101010101" pitchFamily="2" charset="-122"/>
              </a:rPr>
              <a:t> tri(</a:t>
            </a:r>
            <a:r>
              <a:rPr lang="zh-CN" altLang="en-US" sz="2800" b="1" dirty="0">
                <a:solidFill>
                  <a:srgbClr val="3399FF"/>
                </a:solidFill>
                <a:ea typeface="宋体" panose="02010600030101010101" pitchFamily="2" charset="-122"/>
              </a:rPr>
              <a:t>三</a:t>
            </a:r>
            <a:r>
              <a:rPr lang="en-US" altLang="zh-CN" sz="2800" b="1" dirty="0">
                <a:solidFill>
                  <a:srgbClr val="3399FF"/>
                </a:solidFill>
                <a:ea typeface="宋体" panose="02010600030101010101" pitchFamily="2" charset="-122"/>
              </a:rPr>
              <a:t>) </a:t>
            </a:r>
            <a:r>
              <a:rPr lang="en-US" altLang="zh-CN" sz="2800" b="1" u="sng" dirty="0">
                <a:solidFill>
                  <a:srgbClr val="0070C0"/>
                </a:solidFill>
                <a:ea typeface="宋体" panose="02010600030101010101" pitchFamily="2" charset="-122"/>
              </a:rPr>
              <a:t>tri</a:t>
            </a:r>
            <a:r>
              <a:rPr lang="en-US" altLang="zh-CN" sz="2800" b="1" dirty="0">
                <a:solidFill>
                  <a:srgbClr val="0070C0"/>
                </a:solidFill>
                <a:ea typeface="宋体" panose="02010600030101010101" pitchFamily="2" charset="-122"/>
              </a:rPr>
              <a:t>cycle, </a:t>
            </a:r>
            <a:r>
              <a:rPr lang="en-US" altLang="zh-CN" sz="2800" b="1" u="sng" dirty="0">
                <a:solidFill>
                  <a:srgbClr val="0070C0"/>
                </a:solidFill>
                <a:ea typeface="宋体" panose="02010600030101010101" pitchFamily="2" charset="-122"/>
              </a:rPr>
              <a:t>bi</a:t>
            </a:r>
            <a:r>
              <a:rPr lang="en-US" altLang="zh-CN" sz="2800" b="1" dirty="0">
                <a:solidFill>
                  <a:srgbClr val="0070C0"/>
                </a:solidFill>
                <a:ea typeface="宋体" panose="02010600030101010101" pitchFamily="2" charset="-122"/>
              </a:rPr>
              <a:t>cycle</a:t>
            </a:r>
            <a:endParaRPr lang="en-US" altLang="zh-CN" sz="2800" b="1" dirty="0">
              <a:solidFill>
                <a:srgbClr val="3399FF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endParaRPr lang="en-US" altLang="zh-CN" sz="2800" b="1" i="1" dirty="0">
              <a:solidFill>
                <a:srgbClr val="3399FF"/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945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1945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1945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1945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1945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7" dur="500"/>
                                        <p:tgtEl>
                                          <p:spTgt spid="19459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78534" y="-99059"/>
            <a:ext cx="10850563" cy="1028699"/>
          </a:xfrm>
        </p:spPr>
        <p:txBody>
          <a:bodyPr/>
          <a:p>
            <a:pPr algn="ctr"/>
            <a:r>
              <a:rPr lang="en-US" altLang="zh-CN" sz="3600">
                <a:sym typeface="+mn-ea"/>
              </a:rPr>
              <a:t>Suffix</a:t>
            </a:r>
            <a:endParaRPr lang="zh-CN" altLang="en-US" sz="3600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669290" y="1130935"/>
            <a:ext cx="2799080" cy="5006975"/>
          </a:xfrm>
        </p:spPr>
        <p:txBody>
          <a:bodyPr/>
          <a:p>
            <a:pPr marL="0" indent="0">
              <a:buNone/>
            </a:pPr>
            <a:endParaRPr lang="en-US" altLang="zh-CN" sz="3200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procedure</a:t>
            </a:r>
            <a:endParaRPr lang="en-US" altLang="zh-CN" sz="3200" b="1" i="1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condition</a:t>
            </a:r>
            <a:endParaRPr lang="en-US" altLang="zh-CN" sz="3200" b="1" i="1"/>
          </a:p>
          <a:p>
            <a:pPr>
              <a:buFont typeface="Wingdings" panose="05000000000000000000" charset="0"/>
              <a:buChar char="Ø"/>
            </a:pPr>
            <a:r>
              <a:rPr lang="en-US" altLang="zh-CN" sz="3200" b="1" i="1"/>
              <a:t>disease</a:t>
            </a:r>
            <a:endParaRPr lang="en-US" altLang="zh-CN" sz="3200" b="1" i="1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719195" y="1324610"/>
            <a:ext cx="7959090" cy="5762625"/>
          </a:xfrm>
        </p:spPr>
        <p:txBody>
          <a:bodyPr/>
          <a:p>
            <a:pPr>
              <a:lnSpc>
                <a:spcPct val="80000"/>
              </a:lnSpc>
            </a:pP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简单后缀：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-ism(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主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),-itis(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炎症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,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ia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疾病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, 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oma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肿瘤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,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osis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疾病、过程）等</a:t>
            </a:r>
            <a:endParaRPr lang="zh-CN" altLang="en-US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e.g. bronchitis(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支气管炎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) 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        insomnia (</a:t>
            </a:r>
            <a:r>
              <a:rPr lang="zh-CN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失眠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)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endParaRPr lang="zh-CN" altLang="en-US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复合性后缀：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graphy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记录法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,-logy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学科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,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stomy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造口术）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,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scopy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镜检法），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-</a:t>
            </a:r>
            <a:r>
              <a:rPr lang="en-US" altLang="zh-CN" sz="2800" b="1" dirty="0" err="1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uria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（尿症）等</a:t>
            </a:r>
            <a:endParaRPr lang="zh-CN" altLang="en-US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 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e.g. radiology(</a:t>
            </a:r>
            <a:r>
              <a:rPr lang="zh-CN" altLang="en-US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放射学</a:t>
            </a: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)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</a:pPr>
            <a:r>
              <a:rPr lang="en-US" altLang="zh-CN" sz="2800" b="1" dirty="0">
                <a:solidFill>
                  <a:schemeClr val="accent2">
                    <a:lumMod val="75000"/>
                  </a:schemeClr>
                </a:solidFill>
                <a:ea typeface="宋体" panose="02010600030101010101" pitchFamily="2" charset="-122"/>
              </a:rPr>
              <a:t>        thoracoscopy (胸腔镜检查)</a:t>
            </a:r>
            <a:endParaRPr lang="en-US" altLang="zh-CN" sz="2800" b="1" dirty="0">
              <a:solidFill>
                <a:schemeClr val="accent2">
                  <a:lumMod val="75000"/>
                </a:schemeClr>
              </a:solidFill>
              <a:ea typeface="宋体" panose="0201060003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0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20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20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20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20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20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Combining Vowel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69289" y="1838325"/>
            <a:ext cx="10850563" cy="5019675"/>
          </a:xfrm>
        </p:spPr>
        <p:txBody>
          <a:bodyPr/>
          <a:p>
            <a:r>
              <a:rPr lang="en-US" altLang="zh-CN" sz="3200">
                <a:solidFill>
                  <a:schemeClr val="accent1"/>
                </a:solidFill>
              </a:rPr>
              <a:t>usually “o”</a:t>
            </a:r>
            <a:endParaRPr lang="en-US" altLang="zh-CN" sz="3200">
              <a:solidFill>
                <a:schemeClr val="accent1"/>
              </a:solidFill>
            </a:endParaRPr>
          </a:p>
          <a:p>
            <a:r>
              <a:rPr lang="en-US" altLang="zh-CN" sz="3200">
                <a:solidFill>
                  <a:schemeClr val="accent1"/>
                </a:solidFill>
              </a:rPr>
              <a:t>Ease the pronunciation of  a medical term</a:t>
            </a:r>
            <a:endParaRPr lang="en-US" altLang="zh-CN" sz="3200">
              <a:solidFill>
                <a:schemeClr val="accent1"/>
              </a:solidFill>
            </a:endParaRPr>
          </a:p>
          <a:p>
            <a:r>
              <a:rPr lang="en-US" altLang="zh-CN" sz="3200">
                <a:solidFill>
                  <a:schemeClr val="accent1"/>
                </a:solidFill>
              </a:rPr>
              <a:t>Combining forms: add combining vowel to the root word</a:t>
            </a:r>
            <a:endParaRPr lang="en-US" altLang="zh-CN" sz="3200">
              <a:solidFill>
                <a:schemeClr val="accent1"/>
              </a:solidFill>
            </a:endParaRPr>
          </a:p>
          <a:p>
            <a:r>
              <a:rPr lang="zh-CN" altLang="en-US" sz="3200" b="1" dirty="0">
                <a:solidFill>
                  <a:srgbClr val="FF0000"/>
                </a:solidFill>
                <a:sym typeface="+mn-ea"/>
              </a:rPr>
              <a:t>thoraco</a:t>
            </a:r>
            <a:r>
              <a:rPr lang="zh-CN" altLang="en-US" sz="3200" b="1" u="sng" dirty="0">
                <a:solidFill>
                  <a:srgbClr val="2950B2"/>
                </a:solidFill>
                <a:sym typeface="+mn-ea"/>
              </a:rPr>
              <a:t>scopy</a:t>
            </a:r>
            <a:r>
              <a:rPr lang="en-US" altLang="zh-CN" sz="3200" b="1" dirty="0">
                <a:solidFill>
                  <a:srgbClr val="2950B2"/>
                </a:solidFill>
                <a:sym typeface="+mn-ea"/>
              </a:rPr>
              <a:t>  </a:t>
            </a:r>
            <a:r>
              <a:rPr lang="zh-CN" altLang="en-US" sz="3200" b="1" u="sng" dirty="0">
                <a:solidFill>
                  <a:srgbClr val="2950B2"/>
                </a:solidFill>
                <a:sym typeface="+mn-ea"/>
              </a:rPr>
              <a:t>/θɔ:rə'kɔskəpi/</a:t>
            </a:r>
            <a:r>
              <a:rPr lang="en-US" altLang="zh-CN" sz="3200" b="1" u="sng" dirty="0">
                <a:solidFill>
                  <a:srgbClr val="2950B2"/>
                </a:solidFill>
                <a:sym typeface="+mn-ea"/>
              </a:rPr>
              <a:t> </a:t>
            </a:r>
            <a:r>
              <a:rPr lang="zh-CN" altLang="en-US" sz="3200" b="1" dirty="0">
                <a:solidFill>
                  <a:srgbClr val="2950B2"/>
                </a:solidFill>
                <a:sym typeface="+mn-ea"/>
              </a:rPr>
              <a:t>胸腔镜检查</a:t>
            </a:r>
            <a:endParaRPr lang="zh-CN" altLang="en-US" sz="3200" b="1" u="sng" dirty="0">
              <a:solidFill>
                <a:srgbClr val="2950B2"/>
              </a:solidFill>
              <a:sym typeface="+mn-ea"/>
            </a:endParaRPr>
          </a:p>
          <a:p>
            <a:r>
              <a:rPr lang="zh-CN" altLang="en-US" sz="3200" b="1" dirty="0">
                <a:solidFill>
                  <a:srgbClr val="FF0000"/>
                </a:solidFill>
                <a:sym typeface="+mn-ea"/>
              </a:rPr>
              <a:t>thorac</a:t>
            </a:r>
            <a:r>
              <a:rPr lang="en-US" altLang="zh-CN" sz="3200" b="1" dirty="0">
                <a:solidFill>
                  <a:srgbClr val="FF0000"/>
                </a:solidFill>
                <a:sym typeface="+mn-ea"/>
              </a:rPr>
              <a:t>/</a:t>
            </a:r>
            <a:r>
              <a:rPr lang="zh-CN" altLang="en-US" sz="3200" b="1" dirty="0">
                <a:solidFill>
                  <a:srgbClr val="FF0000"/>
                </a:solidFill>
                <a:sym typeface="+mn-ea"/>
              </a:rPr>
              <a:t>o</a:t>
            </a:r>
            <a:r>
              <a:rPr lang="en-US" altLang="zh-CN" sz="3200" b="1" dirty="0">
                <a:solidFill>
                  <a:srgbClr val="FF0000"/>
                </a:solidFill>
                <a:sym typeface="+mn-ea"/>
              </a:rPr>
              <a:t> (</a:t>
            </a:r>
            <a:r>
              <a:rPr lang="en-US" altLang="zh-CN" sz="3200">
                <a:solidFill>
                  <a:schemeClr val="accent1"/>
                </a:solidFill>
                <a:sym typeface="+mn-ea"/>
              </a:rPr>
              <a:t>c</a:t>
            </a:r>
            <a:r>
              <a:rPr lang="en-US" altLang="zh-CN" sz="3200">
                <a:solidFill>
                  <a:schemeClr val="accent1"/>
                </a:solidFill>
                <a:sym typeface="+mn-ea"/>
              </a:rPr>
              <a:t>ombining forms</a:t>
            </a:r>
            <a:r>
              <a:rPr lang="en-US" altLang="zh-CN" sz="3200" b="1" dirty="0">
                <a:solidFill>
                  <a:srgbClr val="FF0000"/>
                </a:solidFill>
                <a:sym typeface="+mn-ea"/>
              </a:rPr>
              <a:t>)</a:t>
            </a:r>
            <a:endParaRPr lang="en-US" altLang="zh-CN" sz="3200" b="1" dirty="0">
              <a:solidFill>
                <a:srgbClr val="FF0000"/>
              </a:solidFill>
              <a:sym typeface="+mn-ea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84C39C35-3626-4273-A769-3E7210EEB81F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transition>
    <p:random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sz="3200">
                <a:solidFill>
                  <a:schemeClr val="accent1"/>
                </a:solidFill>
                <a:sym typeface="+mn-ea"/>
              </a:rPr>
              <a:t>Combining Form Guidelines</a:t>
            </a:r>
            <a:endParaRPr lang="zh-CN" altLang="en-US" sz="320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p>
            <a:r>
              <a:rPr lang="en-US" altLang="zh-CN" sz="3200"/>
              <a:t>Used if suffix does not begin with a vowel</a:t>
            </a:r>
            <a:endParaRPr lang="en-US" altLang="zh-CN" sz="3200"/>
          </a:p>
          <a:p>
            <a:r>
              <a:rPr lang="en-US" altLang="zh-CN" sz="3200">
                <a:solidFill>
                  <a:srgbClr val="FF0000"/>
                </a:solidFill>
              </a:rPr>
              <a:t>ex., arthr/o/pathy [ɑrˈθrɑpəθi] </a:t>
            </a:r>
            <a:r>
              <a:rPr lang="zh-CN" altLang="en-US" sz="3200">
                <a:solidFill>
                  <a:srgbClr val="FF0000"/>
                </a:solidFill>
              </a:rPr>
              <a:t>关节病</a:t>
            </a:r>
            <a:endParaRPr lang="en-US" altLang="zh-CN" sz="3200">
              <a:solidFill>
                <a:srgbClr val="FF0000"/>
              </a:solidFill>
            </a:endParaRPr>
          </a:p>
          <a:p>
            <a:r>
              <a:rPr lang="en-US" altLang="zh-CN" sz="3200"/>
              <a:t>Not used of the suffix begins with a vowel</a:t>
            </a:r>
            <a:endParaRPr lang="en-US" altLang="zh-CN" sz="3200"/>
          </a:p>
          <a:p>
            <a:r>
              <a:rPr lang="en-US" altLang="zh-CN" sz="3200">
                <a:solidFill>
                  <a:srgbClr val="FF0000"/>
                </a:solidFill>
              </a:rPr>
              <a:t>ex., hepat/ic [hɪˈpætɪk] </a:t>
            </a:r>
            <a:r>
              <a:rPr lang="zh-CN" altLang="en-US" sz="3200">
                <a:solidFill>
                  <a:srgbClr val="FF0000"/>
                </a:solidFill>
              </a:rPr>
              <a:t>肝的</a:t>
            </a:r>
            <a:endParaRPr lang="en-US" altLang="zh-CN" sz="3200">
              <a:solidFill>
                <a:srgbClr val="FF0000"/>
              </a:solidFill>
            </a:endParaRPr>
          </a:p>
          <a:p>
            <a:r>
              <a:rPr lang="en-US" altLang="zh-CN" sz="3200"/>
              <a:t>used at the conjunction</a:t>
            </a:r>
            <a:endParaRPr lang="en-US" altLang="zh-CN" sz="3200"/>
          </a:p>
          <a:p>
            <a:r>
              <a:rPr lang="en-US" altLang="zh-CN" sz="3200">
                <a:solidFill>
                  <a:srgbClr val="FF0000"/>
                </a:solidFill>
              </a:rPr>
              <a:t>ex., oste/o/arthr/itis/ [ˌɒstiəʊɑːˈθraɪtɪs] </a:t>
            </a:r>
            <a:r>
              <a:rPr lang="zh-CN" altLang="en-US" sz="3200">
                <a:solidFill>
                  <a:srgbClr val="FF0000"/>
                </a:solidFill>
              </a:rPr>
              <a:t>骨关节炎</a:t>
            </a:r>
            <a:endParaRPr lang="en-US" altLang="zh-CN" sz="3200">
              <a:solidFill>
                <a:srgbClr val="FF0000"/>
              </a:solidFill>
            </a:endParaRPr>
          </a:p>
          <a:p>
            <a:r>
              <a:rPr lang="en-US" altLang="zh-CN" sz="3200"/>
              <a:t>Not used when connecting a prefix and a word root</a:t>
            </a:r>
            <a:endParaRPr lang="en-US" altLang="zh-CN" sz="3200"/>
          </a:p>
          <a:p>
            <a:r>
              <a:rPr lang="en-US" altLang="zh-CN" sz="3200">
                <a:solidFill>
                  <a:srgbClr val="FF0000"/>
                </a:solidFill>
              </a:rPr>
              <a:t>ex., sub/hepa/tic 肝下的</a:t>
            </a:r>
            <a:endParaRPr lang="en-US" altLang="zh-CN" sz="3200">
              <a:solidFill>
                <a:srgbClr val="FF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84C39C35-3626-4273-A769-3E7210EEB81F}" type="slidenum">
              <a:rPr lang="zh-CN" altLang="en-US"/>
            </a:fld>
            <a:endParaRPr lang="en-US" altLang="zh-CN"/>
          </a:p>
        </p:txBody>
      </p:sp>
    </p:spTree>
  </p:cSld>
  <p:clrMapOvr>
    <a:masterClrMapping/>
  </p:clrMapOvr>
  <p:transition>
    <p:random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655604" y="381794"/>
            <a:ext cx="7235825" cy="620712"/>
          </a:xfrm>
        </p:spPr>
        <p:txBody>
          <a:bodyPr/>
          <a:lstStyle/>
          <a:p>
            <a:r>
              <a:rPr lang="en-US" altLang="zh-CN" sz="3200" dirty="0">
                <a:solidFill>
                  <a:srgbClr val="663300"/>
                </a:solidFill>
                <a:ea typeface="宋体" panose="02010600030101010101" pitchFamily="2" charset="-122"/>
              </a:rPr>
              <a:t>Example</a:t>
            </a:r>
            <a:endParaRPr lang="en-US" altLang="zh-CN" sz="3200" dirty="0">
              <a:solidFill>
                <a:srgbClr val="663300"/>
              </a:solidFill>
              <a:ea typeface="宋体" panose="02010600030101010101" pitchFamily="2" charset="-122"/>
            </a:endParaRP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461895" y="692150"/>
            <a:ext cx="8528685" cy="6165850"/>
          </a:xfrm>
        </p:spPr>
        <p:txBody>
          <a:bodyPr/>
          <a:lstStyle/>
          <a:p>
            <a:pPr>
              <a:lnSpc>
                <a:spcPct val="80000"/>
              </a:lnSpc>
              <a:defRPr/>
            </a:pPr>
            <a:endParaRPr lang="en-US" altLang="zh-CN" sz="3200" b="1" dirty="0">
              <a:solidFill>
                <a:srgbClr val="8080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r>
              <a:rPr lang="en-US" altLang="zh-CN" sz="3200" b="1" dirty="0">
                <a:solidFill>
                  <a:schemeClr val="accent1">
                    <a:lumMod val="50000"/>
                  </a:schemeClr>
                </a:solidFill>
                <a:ea typeface="宋体" panose="02010600030101010101" pitchFamily="2" charset="-122"/>
              </a:rPr>
              <a:t>electrocardiogram</a:t>
            </a:r>
            <a:endParaRPr lang="en-US" altLang="zh-CN" sz="3200" b="1" dirty="0">
              <a:solidFill>
                <a:schemeClr val="accent1">
                  <a:lumMod val="50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r>
              <a:rPr lang="en-US" altLang="zh-CN" sz="3200" dirty="0" err="1">
                <a:solidFill>
                  <a:schemeClr val="hlink"/>
                </a:solidFill>
                <a:ea typeface="宋体" panose="02010600030101010101" pitchFamily="2" charset="-122"/>
              </a:rPr>
              <a:t>electr</a:t>
            </a:r>
            <a:r>
              <a:rPr lang="en-US" altLang="zh-CN" sz="3200" dirty="0">
                <a:solidFill>
                  <a:schemeClr val="hlink"/>
                </a:solidFill>
                <a:ea typeface="宋体" panose="02010600030101010101" pitchFamily="2" charset="-122"/>
              </a:rPr>
              <a:t>/</a:t>
            </a:r>
            <a:r>
              <a:rPr lang="en-US" altLang="zh-CN" sz="3200" dirty="0">
                <a:solidFill>
                  <a:srgbClr val="00B050"/>
                </a:solidFill>
                <a:ea typeface="宋体" panose="02010600030101010101" pitchFamily="2" charset="-122"/>
              </a:rPr>
              <a:t>o</a:t>
            </a:r>
            <a:r>
              <a:rPr lang="en-US" altLang="zh-CN" sz="3200" dirty="0">
                <a:solidFill>
                  <a:schemeClr val="hlink"/>
                </a:solidFill>
                <a:ea typeface="宋体" panose="02010600030101010101" pitchFamily="2" charset="-122"/>
              </a:rPr>
              <a:t>/</a:t>
            </a:r>
            <a:r>
              <a:rPr lang="en-US" altLang="zh-CN" sz="3200" dirty="0" err="1">
                <a:solidFill>
                  <a:schemeClr val="tx2">
                    <a:lumMod val="75000"/>
                  </a:schemeClr>
                </a:solidFill>
                <a:ea typeface="宋体" panose="02010600030101010101" pitchFamily="2" charset="-122"/>
              </a:rPr>
              <a:t>cardi</a:t>
            </a:r>
            <a:r>
              <a:rPr lang="en-US" altLang="zh-CN" sz="3200" dirty="0">
                <a:solidFill>
                  <a:schemeClr val="hlink"/>
                </a:solidFill>
                <a:ea typeface="宋体" panose="02010600030101010101" pitchFamily="2" charset="-122"/>
              </a:rPr>
              <a:t>/</a:t>
            </a:r>
            <a:r>
              <a:rPr lang="en-US" altLang="zh-CN" sz="3200" dirty="0">
                <a:solidFill>
                  <a:srgbClr val="00B050"/>
                </a:solidFill>
                <a:ea typeface="宋体" panose="02010600030101010101" pitchFamily="2" charset="-122"/>
              </a:rPr>
              <a:t>o</a:t>
            </a:r>
            <a:r>
              <a:rPr lang="en-US" altLang="zh-CN" sz="3200" dirty="0">
                <a:solidFill>
                  <a:schemeClr val="hlink"/>
                </a:solidFill>
                <a:ea typeface="宋体" panose="02010600030101010101" pitchFamily="2" charset="-122"/>
              </a:rPr>
              <a:t>/</a:t>
            </a:r>
            <a:r>
              <a:rPr lang="en-US" altLang="zh-CN" sz="3200" dirty="0">
                <a:solidFill>
                  <a:schemeClr val="accent4"/>
                </a:solidFill>
                <a:ea typeface="宋体" panose="02010600030101010101" pitchFamily="2" charset="-122"/>
              </a:rPr>
              <a:t>gram</a:t>
            </a:r>
            <a:endParaRPr lang="en-US" altLang="zh-CN" sz="3200" dirty="0">
              <a:solidFill>
                <a:schemeClr val="accent4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3200" dirty="0">
              <a:solidFill>
                <a:srgbClr val="FF99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3200" dirty="0">
              <a:solidFill>
                <a:srgbClr val="FF99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3200" dirty="0">
              <a:solidFill>
                <a:srgbClr val="FF99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3200" dirty="0">
              <a:solidFill>
                <a:srgbClr val="FF99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3200" dirty="0">
              <a:solidFill>
                <a:srgbClr val="FF99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r>
              <a:rPr lang="en-US" altLang="zh-CN" sz="3200" b="1" i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the record of the electricity of the heart </a:t>
            </a:r>
            <a:endParaRPr lang="en-US" altLang="zh-CN" sz="3200" b="1" i="1" dirty="0">
              <a:solidFill>
                <a:schemeClr val="accent1">
                  <a:lumMod val="60000"/>
                  <a:lumOff val="40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r>
              <a:rPr lang="en-US" altLang="zh-CN" sz="3200" b="1" i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(</a:t>
            </a:r>
            <a:r>
              <a:rPr lang="zh-CN" altLang="en-US" sz="3200" b="1" i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心电图</a:t>
            </a:r>
            <a:r>
              <a:rPr lang="en-US" altLang="zh-CN" sz="3200" b="1" i="1" dirty="0">
                <a:solidFill>
                  <a:schemeClr val="accent1">
                    <a:lumMod val="60000"/>
                    <a:lumOff val="40000"/>
                  </a:schemeClr>
                </a:solidFill>
                <a:ea typeface="宋体" panose="02010600030101010101" pitchFamily="2" charset="-122"/>
              </a:rPr>
              <a:t> ECG)  </a:t>
            </a:r>
            <a:endParaRPr lang="en-US" altLang="zh-CN" sz="3200" b="1" i="1" dirty="0">
              <a:solidFill>
                <a:schemeClr val="accent1">
                  <a:lumMod val="60000"/>
                  <a:lumOff val="40000"/>
                </a:schemeClr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2800" dirty="0">
              <a:solidFill>
                <a:srgbClr val="FF9900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buFontTx/>
              <a:buNone/>
              <a:defRPr/>
            </a:pPr>
            <a:endParaRPr lang="en-US" altLang="zh-CN" sz="2800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buFontTx/>
              <a:buNone/>
              <a:defRPr/>
            </a:pPr>
            <a:endParaRPr lang="en-US" altLang="zh-CN" sz="2800" dirty="0">
              <a:ea typeface="宋体" panose="02010600030101010101" pitchFamily="2" charset="-122"/>
            </a:endParaRPr>
          </a:p>
          <a:p>
            <a:pPr>
              <a:lnSpc>
                <a:spcPct val="80000"/>
              </a:lnSpc>
              <a:defRPr/>
            </a:pPr>
            <a:endParaRPr lang="en-US" altLang="zh-CN" sz="2800" dirty="0">
              <a:ea typeface="宋体" panose="02010600030101010101" pitchFamily="2" charset="-122"/>
            </a:endParaRPr>
          </a:p>
        </p:txBody>
      </p:sp>
      <p:sp>
        <p:nvSpPr>
          <p:cNvPr id="17412" name="AutoShape 4"/>
          <p:cNvSpPr/>
          <p:nvPr/>
        </p:nvSpPr>
        <p:spPr bwMode="auto">
          <a:xfrm>
            <a:off x="2573167" y="2517306"/>
            <a:ext cx="146539" cy="1507253"/>
          </a:xfrm>
          <a:prstGeom prst="leftBrace">
            <a:avLst>
              <a:gd name="adj1" fmla="val 248124"/>
              <a:gd name="adj2" fmla="val 50000"/>
            </a:avLst>
          </a:prstGeom>
          <a:noFill/>
          <a:ln w="19050">
            <a:solidFill>
              <a:srgbClr val="9933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2000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7414" name="Text Box 6"/>
          <p:cNvSpPr txBox="1">
            <a:spLocks noChangeArrowheads="1"/>
          </p:cNvSpPr>
          <p:nvPr/>
        </p:nvSpPr>
        <p:spPr bwMode="auto">
          <a:xfrm>
            <a:off x="2819401" y="2362835"/>
            <a:ext cx="5940425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词根 </a:t>
            </a:r>
            <a:r>
              <a:rPr lang="en-US" altLang="zh-CN" sz="2800" dirty="0" err="1">
                <a:solidFill>
                  <a:schemeClr val="hlink"/>
                </a:solidFill>
                <a:latin typeface="Calibri" panose="020F0502020204030204" charset="0"/>
              </a:rPr>
              <a:t>electr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-</a:t>
            </a: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（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electricity</a:t>
            </a: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电）</a:t>
            </a:r>
            <a:endParaRPr lang="zh-CN" altLang="en-US" sz="2800" dirty="0">
              <a:solidFill>
                <a:schemeClr val="hlink"/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词根 </a:t>
            </a:r>
            <a:r>
              <a:rPr lang="en-US" altLang="zh-CN" sz="2800" dirty="0" err="1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cardi</a:t>
            </a:r>
            <a:r>
              <a:rPr lang="en-US" altLang="zh-CN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-(heart</a:t>
            </a:r>
            <a:r>
              <a:rPr lang="zh-CN" altLang="en-US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心</a:t>
            </a:r>
            <a:r>
              <a:rPr lang="en-US" altLang="zh-CN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tx2">
                  <a:lumMod val="75000"/>
                </a:schemeClr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rgbClr val="00B050"/>
                </a:solidFill>
                <a:latin typeface="Calibri" panose="020F0502020204030204" charset="0"/>
              </a:rPr>
              <a:t>两个连接性元音</a:t>
            </a:r>
            <a:r>
              <a:rPr lang="en-US" altLang="zh-CN" sz="2800" dirty="0">
                <a:solidFill>
                  <a:srgbClr val="00B050"/>
                </a:solidFill>
                <a:latin typeface="Calibri" panose="020F0502020204030204" charset="0"/>
              </a:rPr>
              <a:t>o</a:t>
            </a:r>
            <a:endParaRPr lang="en-US" altLang="zh-CN" sz="2800" dirty="0">
              <a:solidFill>
                <a:srgbClr val="00B050"/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后缀 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-gram</a:t>
            </a: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（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record</a:t>
            </a: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纪录图）</a:t>
            </a:r>
            <a:endParaRPr lang="zh-CN" altLang="en-US" sz="2800" dirty="0">
              <a:solidFill>
                <a:schemeClr val="accent4"/>
              </a:solidFill>
              <a:latin typeface="Calibri" panose="020F0502020204030204" charset="0"/>
            </a:endParaRPr>
          </a:p>
        </p:txBody>
      </p:sp>
    </p:spTree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74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74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74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74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174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174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174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1741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7" dur="500"/>
                                        <p:tgtEl>
                                          <p:spTgt spid="1741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2" grpId="0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>
          <a:xfrm>
            <a:off x="668879" y="400747"/>
            <a:ext cx="7235825" cy="620713"/>
          </a:xfrm>
        </p:spPr>
        <p:txBody>
          <a:bodyPr>
            <a:normAutofit fontScale="90000"/>
          </a:bodyPr>
          <a:lstStyle/>
          <a:p>
            <a:r>
              <a:rPr lang="en-US" altLang="zh-CN" sz="4000" dirty="0">
                <a:solidFill>
                  <a:srgbClr val="663300"/>
                </a:solidFill>
                <a:ea typeface="宋体" panose="02010600030101010101" pitchFamily="2" charset="-122"/>
              </a:rPr>
              <a:t>More examples</a:t>
            </a:r>
            <a:endParaRPr lang="en-US" altLang="zh-CN" sz="4000" dirty="0">
              <a:solidFill>
                <a:srgbClr val="663300"/>
              </a:solidFill>
              <a:ea typeface="宋体" panose="02010600030101010101" pitchFamily="2" charset="-122"/>
            </a:endParaRPr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711325" y="725805"/>
            <a:ext cx="4097655" cy="6165850"/>
          </a:xfrm>
        </p:spPr>
        <p:txBody>
          <a:bodyPr/>
          <a:lstStyle/>
          <a:p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r>
              <a:rPr lang="en-US" altLang="zh-CN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Oto</a:t>
            </a:r>
            <a:r>
              <a:rPr lang="en-US" altLang="zh-CN" sz="2800" b="1" dirty="0">
                <a:solidFill>
                  <a:schemeClr val="tx2">
                    <a:lumMod val="75000"/>
                  </a:schemeClr>
                </a:solidFill>
                <a:ea typeface="宋体" panose="02010600030101010101" pitchFamily="2" charset="-122"/>
              </a:rPr>
              <a:t>rhino</a:t>
            </a:r>
            <a:r>
              <a:rPr lang="en-US" altLang="zh-CN" sz="2800" b="1" dirty="0">
                <a:solidFill>
                  <a:srgbClr val="00B050"/>
                </a:solidFill>
                <a:ea typeface="宋体" panose="02010600030101010101" pitchFamily="2" charset="-122"/>
              </a:rPr>
              <a:t>laryngo</a:t>
            </a:r>
            <a:r>
              <a:rPr lang="en-US" altLang="zh-CN" sz="2800" b="1" dirty="0">
                <a:solidFill>
                  <a:srgbClr val="CC6600"/>
                </a:solidFill>
                <a:ea typeface="宋体" panose="02010600030101010101" pitchFamily="2" charset="-122"/>
              </a:rPr>
              <a:t>logy</a:t>
            </a:r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pPr marL="0" indent="0">
              <a:buNone/>
            </a:pPr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r>
              <a:rPr lang="en-US" altLang="zh-CN" sz="2800" b="1" dirty="0">
                <a:solidFill>
                  <a:srgbClr val="CC6600"/>
                </a:solidFill>
                <a:ea typeface="宋体" panose="02010600030101010101" pitchFamily="2" charset="-122"/>
              </a:rPr>
              <a:t>hyper</a:t>
            </a:r>
            <a:r>
              <a:rPr lang="en-US" altLang="zh-CN" sz="2800" b="1" dirty="0">
                <a:solidFill>
                  <a:schemeClr val="hlink"/>
                </a:solidFill>
                <a:ea typeface="宋体" panose="02010600030101010101" pitchFamily="2" charset="-122"/>
              </a:rPr>
              <a:t>tension</a:t>
            </a:r>
            <a:endParaRPr lang="en-US" altLang="zh-CN" sz="2800" b="1" dirty="0">
              <a:solidFill>
                <a:schemeClr val="hlink"/>
              </a:solidFill>
              <a:ea typeface="宋体" panose="02010600030101010101" pitchFamily="2" charset="-122"/>
            </a:endParaRPr>
          </a:p>
          <a:p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pPr marL="0" indent="0">
              <a:buNone/>
            </a:pPr>
            <a:endParaRPr lang="en-US" altLang="zh-CN" sz="2400" b="1" dirty="0">
              <a:solidFill>
                <a:srgbClr val="CC6600"/>
              </a:solidFill>
              <a:ea typeface="宋体" panose="02010600030101010101" pitchFamily="2" charset="-122"/>
            </a:endParaRPr>
          </a:p>
          <a:p>
            <a:r>
              <a:rPr lang="en-US" altLang="zh-CN" sz="2800" b="1" dirty="0">
                <a:solidFill>
                  <a:srgbClr val="CC6600"/>
                </a:solidFill>
                <a:ea typeface="宋体" panose="02010600030101010101" pitchFamily="2" charset="-122"/>
              </a:rPr>
              <a:t>hepat</a:t>
            </a:r>
            <a:r>
              <a:rPr lang="en-US" altLang="zh-CN" sz="2800" b="1" u="sng" dirty="0">
                <a:solidFill>
                  <a:srgbClr val="CC6600"/>
                </a:solidFill>
                <a:ea typeface="宋体" panose="02010600030101010101" pitchFamily="2" charset="-122"/>
              </a:rPr>
              <a:t>itis</a:t>
            </a:r>
            <a:endParaRPr lang="en-US" altLang="zh-CN" sz="2800" b="1" u="sng" dirty="0">
              <a:solidFill>
                <a:srgbClr val="CC6600"/>
              </a:solidFill>
              <a:ea typeface="宋体" panose="02010600030101010101" pitchFamily="2" charset="-122"/>
            </a:endParaRPr>
          </a:p>
        </p:txBody>
      </p:sp>
      <p:sp>
        <p:nvSpPr>
          <p:cNvPr id="18436" name="AutoShape 4"/>
          <p:cNvSpPr/>
          <p:nvPr/>
        </p:nvSpPr>
        <p:spPr bwMode="auto">
          <a:xfrm>
            <a:off x="5762625" y="1184275"/>
            <a:ext cx="76200" cy="1368425"/>
          </a:xfrm>
          <a:prstGeom prst="leftBrace">
            <a:avLst>
              <a:gd name="adj1" fmla="val 244671"/>
              <a:gd name="adj2" fmla="val 50000"/>
            </a:avLst>
          </a:prstGeom>
          <a:noFill/>
          <a:ln w="19050">
            <a:solidFill>
              <a:srgbClr val="9933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2800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8437" name="Text Box 5"/>
          <p:cNvSpPr txBox="1">
            <a:spLocks noChangeArrowheads="1"/>
          </p:cNvSpPr>
          <p:nvPr/>
        </p:nvSpPr>
        <p:spPr bwMode="auto">
          <a:xfrm>
            <a:off x="5932805" y="1092200"/>
            <a:ext cx="5076825" cy="181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词根 </a:t>
            </a:r>
            <a:r>
              <a:rPr lang="en-US" altLang="zh-CN" sz="2800" dirty="0" err="1">
                <a:solidFill>
                  <a:schemeClr val="hlink"/>
                </a:solidFill>
                <a:latin typeface="Calibri" panose="020F0502020204030204" charset="0"/>
              </a:rPr>
              <a:t>ot/o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-</a:t>
            </a: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（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ear </a:t>
            </a: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耳）</a:t>
            </a:r>
            <a:endParaRPr lang="zh-CN" altLang="en-US" sz="2800" dirty="0">
              <a:solidFill>
                <a:schemeClr val="hlink"/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词根 </a:t>
            </a:r>
            <a:r>
              <a:rPr lang="en-US" altLang="zh-CN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rhin/o-(nose </a:t>
            </a:r>
            <a:r>
              <a:rPr lang="zh-CN" altLang="en-US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鼻</a:t>
            </a:r>
            <a:r>
              <a:rPr lang="en-US" altLang="zh-CN" sz="2800" dirty="0">
                <a:solidFill>
                  <a:schemeClr val="tx2">
                    <a:lumMod val="75000"/>
                  </a:schemeClr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tx2">
                  <a:lumMod val="75000"/>
                </a:schemeClr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rgbClr val="00B050"/>
                </a:solidFill>
                <a:latin typeface="Calibri" panose="020F0502020204030204" charset="0"/>
              </a:rPr>
              <a:t>词根 </a:t>
            </a:r>
            <a:r>
              <a:rPr lang="en-US" altLang="zh-CN" sz="2800" dirty="0">
                <a:solidFill>
                  <a:srgbClr val="00B050"/>
                </a:solidFill>
                <a:latin typeface="Calibri" panose="020F0502020204030204" charset="0"/>
              </a:rPr>
              <a:t>laryng/o- (throat </a:t>
            </a:r>
            <a:r>
              <a:rPr lang="zh-CN" altLang="en-US" sz="2800" dirty="0">
                <a:solidFill>
                  <a:srgbClr val="00B050"/>
                </a:solidFill>
                <a:latin typeface="Calibri" panose="020F0502020204030204" charset="0"/>
              </a:rPr>
              <a:t>喉</a:t>
            </a:r>
            <a:r>
              <a:rPr lang="en-US" altLang="zh-CN" sz="2800" dirty="0">
                <a:solidFill>
                  <a:srgbClr val="00B050"/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rgbClr val="00B050"/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后缀 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– logy ( subject</a:t>
            </a: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学科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accent4"/>
              </a:solidFill>
              <a:latin typeface="Calibri" panose="020F0502020204030204" charset="0"/>
            </a:endParaRPr>
          </a:p>
        </p:txBody>
      </p:sp>
      <p:sp>
        <p:nvSpPr>
          <p:cNvPr id="18438" name="AutoShape 6"/>
          <p:cNvSpPr/>
          <p:nvPr/>
        </p:nvSpPr>
        <p:spPr bwMode="auto">
          <a:xfrm>
            <a:off x="4056380" y="4732655"/>
            <a:ext cx="106680" cy="790575"/>
          </a:xfrm>
          <a:prstGeom prst="leftBrace">
            <a:avLst>
              <a:gd name="adj1" fmla="val 124552"/>
              <a:gd name="adj2" fmla="val 50000"/>
            </a:avLst>
          </a:prstGeom>
          <a:noFill/>
          <a:ln w="19050">
            <a:solidFill>
              <a:srgbClr val="9933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2800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8439" name="Text Box 7"/>
          <p:cNvSpPr txBox="1">
            <a:spLocks noChangeArrowheads="1"/>
          </p:cNvSpPr>
          <p:nvPr/>
        </p:nvSpPr>
        <p:spPr bwMode="auto">
          <a:xfrm>
            <a:off x="4288155" y="4691380"/>
            <a:ext cx="6019800" cy="95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词根 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hepato- (liver </a:t>
            </a: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肝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hlink"/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后缀 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– itis ( inflammation </a:t>
            </a: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炎症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accent4"/>
              </a:solidFill>
              <a:latin typeface="Calibri" panose="020F0502020204030204" charset="0"/>
            </a:endParaRPr>
          </a:p>
        </p:txBody>
      </p:sp>
      <p:sp>
        <p:nvSpPr>
          <p:cNvPr id="18440" name="AutoShape 8"/>
          <p:cNvSpPr/>
          <p:nvPr/>
        </p:nvSpPr>
        <p:spPr bwMode="auto">
          <a:xfrm>
            <a:off x="4715510" y="3300095"/>
            <a:ext cx="109220" cy="792480"/>
          </a:xfrm>
          <a:prstGeom prst="leftBrace">
            <a:avLst>
              <a:gd name="adj1" fmla="val 124248"/>
              <a:gd name="adj2" fmla="val 50000"/>
            </a:avLst>
          </a:prstGeom>
          <a:noFill/>
          <a:ln w="19050">
            <a:solidFill>
              <a:srgbClr val="993300"/>
            </a:solidFill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zh-CN" altLang="en-US" sz="2800">
              <a:solidFill>
                <a:srgbClr val="FFFFFF"/>
              </a:solidFill>
              <a:latin typeface="Calibri" panose="020F0502020204030204" charset="0"/>
            </a:endParaRPr>
          </a:p>
        </p:txBody>
      </p:sp>
      <p:sp>
        <p:nvSpPr>
          <p:cNvPr id="18441" name="Text Box 9"/>
          <p:cNvSpPr txBox="1">
            <a:spLocks noChangeArrowheads="1"/>
          </p:cNvSpPr>
          <p:nvPr/>
        </p:nvSpPr>
        <p:spPr bwMode="auto">
          <a:xfrm>
            <a:off x="4788535" y="3260725"/>
            <a:ext cx="6915150" cy="95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前缀 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hyper ( high, extra </a:t>
            </a:r>
            <a:r>
              <a:rPr lang="zh-CN" altLang="en-US" sz="2800" dirty="0">
                <a:solidFill>
                  <a:schemeClr val="accent4"/>
                </a:solidFill>
                <a:latin typeface="Calibri" panose="020F0502020204030204" charset="0"/>
              </a:rPr>
              <a:t>高、超出</a:t>
            </a:r>
            <a:r>
              <a:rPr lang="en-US" altLang="zh-CN" sz="2800" dirty="0">
                <a:solidFill>
                  <a:schemeClr val="accent4"/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accent4"/>
              </a:solidFill>
              <a:latin typeface="Calibri" panose="020F050202020403020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单词 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tension (</a:t>
            </a:r>
            <a:r>
              <a:rPr lang="zh-CN" altLang="en-US" sz="2800" dirty="0">
                <a:solidFill>
                  <a:schemeClr val="hlink"/>
                </a:solidFill>
                <a:latin typeface="Calibri" panose="020F0502020204030204" charset="0"/>
              </a:rPr>
              <a:t>紧张</a:t>
            </a:r>
            <a:r>
              <a:rPr lang="en-US" altLang="zh-CN" sz="2800" dirty="0">
                <a:solidFill>
                  <a:schemeClr val="hlink"/>
                </a:solidFill>
                <a:latin typeface="Calibri" panose="020F0502020204030204" charset="0"/>
              </a:rPr>
              <a:t>)</a:t>
            </a:r>
            <a:endParaRPr lang="en-US" altLang="zh-CN" sz="2800" dirty="0">
              <a:solidFill>
                <a:schemeClr val="hlink"/>
              </a:solidFill>
              <a:latin typeface="Calibri" panose="020F0502020204030204" charset="0"/>
            </a:endParaRPr>
          </a:p>
        </p:txBody>
      </p:sp>
    </p:spTree>
  </p:cSld>
  <p:clrMapOvr>
    <a:masterClrMapping/>
  </p:clrMapOvr>
  <p:transition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843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84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84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84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7" dur="500"/>
                                        <p:tgtEl>
                                          <p:spTgt spid="1843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2" dur="500"/>
                                        <p:tgtEl>
                                          <p:spTgt spid="1843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7" dur="500"/>
                                        <p:tgtEl>
                                          <p:spTgt spid="1843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2" dur="500"/>
                                        <p:tgtEl>
                                          <p:spTgt spid="184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47" dur="500"/>
                                        <p:tgtEl>
                                          <p:spTgt spid="184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2" dur="500"/>
                                        <p:tgtEl>
                                          <p:spTgt spid="184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57" dur="500"/>
                                        <p:tgtEl>
                                          <p:spTgt spid="1843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2" dur="500"/>
                                        <p:tgtEl>
                                          <p:spTgt spid="184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67" dur="500"/>
                                        <p:tgtEl>
                                          <p:spTgt spid="184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2" dur="500"/>
                                        <p:tgtEl>
                                          <p:spTgt spid="1843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436" grpId="0" bldLvl="0" animBg="1"/>
      <p:bldP spid="18438" grpId="0" bldLvl="0" animBg="1"/>
      <p:bldP spid="18440" grpId="0" bldLvl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sz="3200"/>
              <a:t>Quiz </a:t>
            </a:r>
            <a:endParaRPr lang="en-US" altLang="zh-CN" sz="320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669925" y="1929765"/>
            <a:ext cx="10850880" cy="4213860"/>
          </a:xfrm>
        </p:spPr>
        <p:txBody>
          <a:bodyPr/>
          <a:p>
            <a:r>
              <a:rPr lang="en-US" altLang="zh-CN" sz="3200">
                <a:solidFill>
                  <a:schemeClr val="accent1"/>
                </a:solidFill>
              </a:rPr>
              <a:t>The word part that is the core of the word is a ________.</a:t>
            </a:r>
            <a:endParaRPr lang="en-US" altLang="zh-CN" sz="320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alphaUcPeriod"/>
            </a:pPr>
            <a:r>
              <a:rPr lang="en-US" altLang="zh-CN" sz="3200">
                <a:solidFill>
                  <a:schemeClr val="accent1"/>
                </a:solidFill>
              </a:rPr>
              <a:t>Combining vowel</a:t>
            </a:r>
            <a:endParaRPr lang="en-US" altLang="zh-CN" sz="320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alphaUcPeriod"/>
            </a:pPr>
            <a:r>
              <a:rPr lang="en-US" altLang="zh-CN" sz="3200">
                <a:solidFill>
                  <a:schemeClr val="accent1"/>
                </a:solidFill>
              </a:rPr>
              <a:t>Suffix</a:t>
            </a:r>
            <a:endParaRPr lang="en-US" altLang="zh-CN" sz="320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alphaUcPeriod"/>
            </a:pPr>
            <a:r>
              <a:rPr lang="en-US" altLang="zh-CN" sz="3200">
                <a:solidFill>
                  <a:schemeClr val="accent1"/>
                </a:solidFill>
              </a:rPr>
              <a:t>Word root</a:t>
            </a:r>
            <a:endParaRPr lang="en-US" altLang="zh-CN" sz="320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alphaUcPeriod"/>
            </a:pPr>
            <a:r>
              <a:rPr lang="en-US" altLang="zh-CN" sz="3200">
                <a:solidFill>
                  <a:schemeClr val="accent1"/>
                </a:solidFill>
              </a:rPr>
              <a:t>Prefix </a:t>
            </a:r>
            <a:endParaRPr lang="en-US" altLang="zh-CN" sz="3200">
              <a:solidFill>
                <a:schemeClr val="accent1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pPr>
              <a:defRPr/>
            </a:pP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pPr>
              <a:defRPr/>
            </a:pPr>
            <a:fld id="{84C39C35-3626-4273-A769-3E7210EEB81F}" type="slidenum">
              <a:rPr lang="zh-CN" altLang="en-US"/>
            </a:fld>
            <a:endParaRPr lang="en-US" altLang="zh-CN"/>
          </a:p>
        </p:txBody>
      </p:sp>
      <p:sp>
        <p:nvSpPr>
          <p:cNvPr id="6" name="五角星 5"/>
          <p:cNvSpPr/>
          <p:nvPr/>
        </p:nvSpPr>
        <p:spPr>
          <a:xfrm>
            <a:off x="3302000" y="3705860"/>
            <a:ext cx="561975" cy="396240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/>
          </a:p>
        </p:txBody>
      </p:sp>
    </p:spTree>
  </p:cSld>
  <p:clrMapOvr>
    <a:masterClrMapping/>
  </p:clrMapOvr>
  <p:transition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6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字占位符 1"/>
          <p:cNvSpPr>
            <a:spLocks noGrp="1"/>
          </p:cNvSpPr>
          <p:nvPr>
            <p:ph type="body" orient="vert" idx="1"/>
          </p:nvPr>
        </p:nvSpPr>
        <p:spPr>
          <a:xfrm>
            <a:off x="609600" y="1576389"/>
            <a:ext cx="11055019" cy="4352925"/>
          </a:xfrm>
        </p:spPr>
        <p:txBody>
          <a:bodyPr>
            <a:normAutofit lnSpcReduction="10000"/>
          </a:bodyPr>
          <a:lstStyle/>
          <a:p>
            <a:r>
              <a:rPr lang="en-US" altLang="zh-CN" sz="3600" b="1" dirty="0" smtClean="0">
                <a:solidFill>
                  <a:srgbClr val="2950B2"/>
                </a:solidFill>
              </a:rPr>
              <a:t>3.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借用部分普通词汇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host [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həʊst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主人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;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节目主持人</a:t>
            </a:r>
            <a:endParaRPr lang="zh-CN" altLang="en-US" sz="3600" b="1" dirty="0" smtClean="0">
              <a:solidFill>
                <a:srgbClr val="2950B2"/>
              </a:solidFill>
            </a:endParaRPr>
          </a:p>
          <a:p>
            <a:r>
              <a:rPr lang="zh-CN" altLang="en-US" sz="3600" b="1" dirty="0" smtClean="0">
                <a:solidFill>
                  <a:srgbClr val="2950B2"/>
                </a:solidFill>
              </a:rPr>
              <a:t>（宿主）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pupil [ˈ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pjuːpl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小学生</a:t>
            </a:r>
            <a:endParaRPr lang="zh-CN" altLang="en-US" sz="3600" b="1" dirty="0" smtClean="0">
              <a:solidFill>
                <a:srgbClr val="2950B2"/>
              </a:solidFill>
            </a:endParaRPr>
          </a:p>
          <a:p>
            <a:r>
              <a:rPr lang="zh-CN" altLang="en-US" sz="3600" b="1" dirty="0" smtClean="0">
                <a:solidFill>
                  <a:srgbClr val="2950B2"/>
                </a:solidFill>
              </a:rPr>
              <a:t>（瞳孔）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temple [ˈ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templ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庙宇，寺院</a:t>
            </a:r>
            <a:endParaRPr lang="zh-CN" altLang="en-US" sz="3600" b="1" dirty="0" smtClean="0">
              <a:solidFill>
                <a:srgbClr val="2950B2"/>
              </a:solidFill>
            </a:endParaRPr>
          </a:p>
          <a:p>
            <a:r>
              <a:rPr lang="zh-CN" altLang="en-US" sz="3600" b="1" dirty="0" smtClean="0">
                <a:solidFill>
                  <a:srgbClr val="2950B2"/>
                </a:solidFill>
              </a:rPr>
              <a:t>（太阳穴）</a:t>
            </a:r>
            <a:endParaRPr lang="zh-CN" altLang="en-US" sz="3600" b="1" dirty="0">
              <a:solidFill>
                <a:srgbClr val="2950B2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648443" y="207586"/>
            <a:ext cx="9715568" cy="785810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rgbClr val="C00000"/>
                </a:solidFill>
                <a:latin typeface="+mn-lt"/>
              </a:rPr>
              <a:t>医护英语词汇的五个特点</a:t>
            </a:r>
            <a:endParaRPr lang="zh-CN" altLang="en-US" sz="3600" dirty="0">
              <a:solidFill>
                <a:srgbClr val="C0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2" grpId="1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字占位符 1"/>
          <p:cNvSpPr>
            <a:spLocks noGrp="1"/>
          </p:cNvSpPr>
          <p:nvPr>
            <p:ph type="body" orient="vert" idx="1"/>
          </p:nvPr>
        </p:nvSpPr>
        <p:spPr>
          <a:xfrm>
            <a:off x="669290" y="1158558"/>
            <a:ext cx="10972800" cy="4948956"/>
          </a:xfrm>
        </p:spPr>
        <p:txBody>
          <a:bodyPr>
            <a:normAutofit fontScale="90000" lnSpcReduction="20000"/>
          </a:bodyPr>
          <a:lstStyle/>
          <a:p>
            <a:r>
              <a:rPr lang="en-US" altLang="zh-CN" sz="3600" b="1" dirty="0" smtClean="0">
                <a:solidFill>
                  <a:srgbClr val="2950B2"/>
                </a:solidFill>
              </a:rPr>
              <a:t>4.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存在大量缩略词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TCM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(traditional Chinese medicine) 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中医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CPR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 </a:t>
            </a:r>
            <a:endParaRPr lang="zh-CN" altLang="en-US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(cardiopulmonary resuscitation)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心肺复苏术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BP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(blood pressure) 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血压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NCP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(novel 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coronavirus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 pneumonia) 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pPr>
              <a:buNone/>
            </a:pPr>
            <a:r>
              <a:rPr lang="en-US" altLang="zh-CN" sz="3600" b="1" dirty="0" smtClean="0">
                <a:solidFill>
                  <a:srgbClr val="2950B2"/>
                </a:solidFill>
              </a:rPr>
              <a:t> [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kə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 ˌ 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rəʊnə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 ˈ 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vaiərəs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新型冠状病毒肺炎</a:t>
            </a:r>
            <a:endParaRPr lang="zh-CN" altLang="en-US" sz="3600" b="1" dirty="0">
              <a:solidFill>
                <a:srgbClr val="2950B2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601790" y="179594"/>
            <a:ext cx="9715568" cy="785810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rgbClr val="C00000"/>
                </a:solidFill>
                <a:latin typeface="+mn-lt"/>
              </a:rPr>
              <a:t>医护英语词汇的五个特点</a:t>
            </a:r>
            <a:endParaRPr lang="zh-CN" altLang="en-US" sz="3600" dirty="0">
              <a:solidFill>
                <a:srgbClr val="C000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2" grpI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liď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ïšḷïḋê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课程定位</a:t>
            </a:r>
            <a:r>
              <a:rPr lang="en-US" altLang="zh-CN"/>
              <a:t> </a:t>
            </a:r>
            <a:r>
              <a:rPr lang="zh-CN" altLang="en-US"/>
              <a:t>（</a:t>
            </a:r>
            <a:r>
              <a:rPr lang="en-US" altLang="zh-CN"/>
              <a:t>O</a:t>
            </a:r>
            <a:r>
              <a:rPr lang="en-US" altLang="zh-CN"/>
              <a:t>rientation</a:t>
            </a:r>
            <a:r>
              <a:rPr lang="zh-CN" altLang="en-US"/>
              <a:t>）</a:t>
            </a:r>
            <a:endParaRPr lang="zh-CN" altLang="en-US"/>
          </a:p>
        </p:txBody>
      </p:sp>
      <p:sp>
        <p:nvSpPr>
          <p:cNvPr id="4" name="ïṣ1ídé"/>
          <p:cNvSpPr>
            <a:spLocks noGrp="1"/>
          </p:cNvSpPr>
          <p:nvPr>
            <p:ph type="sldNum" sz="quarter" idx="12"/>
          </p:nvPr>
        </p:nvSpPr>
        <p:spPr>
          <a:xfrm>
            <a:off x="9864724" y="6260148"/>
            <a:ext cx="2909888" cy="206381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78850" name="Group 3"/>
          <p:cNvGrpSpPr/>
          <p:nvPr/>
        </p:nvGrpSpPr>
        <p:grpSpPr>
          <a:xfrm>
            <a:off x="7350125" y="3232785"/>
            <a:ext cx="2327275" cy="2854325"/>
            <a:chOff x="0" y="0"/>
            <a:chExt cx="1466" cy="1798"/>
          </a:xfrm>
        </p:grpSpPr>
        <p:pic>
          <p:nvPicPr>
            <p:cNvPr id="78851" name="Picture 4" descr="circuler_1"/>
            <p:cNvPicPr>
              <a:picLocks noChangeAspect="1"/>
            </p:cNvPicPr>
            <p:nvPr/>
          </p:nvPicPr>
          <p:blipFill>
            <a:blip r:embed="rId1"/>
            <a:stretch>
              <a:fillRect/>
            </a:stretch>
          </p:blipFill>
          <p:spPr>
            <a:xfrm>
              <a:off x="11" y="38"/>
              <a:ext cx="1455" cy="1442"/>
            </a:xfrm>
            <a:prstGeom prst="rect">
              <a:avLst/>
            </a:prstGeom>
            <a:noFill/>
            <a:ln w="9525">
              <a:noFill/>
            </a:ln>
          </p:spPr>
        </p:pic>
        <p:grpSp>
          <p:nvGrpSpPr>
            <p:cNvPr id="78852" name="Group 5"/>
            <p:cNvGrpSpPr/>
            <p:nvPr/>
          </p:nvGrpSpPr>
          <p:grpSpPr>
            <a:xfrm>
              <a:off x="0" y="0"/>
              <a:ext cx="1451" cy="1798"/>
              <a:chOff x="0" y="0"/>
              <a:chExt cx="1451" cy="1798"/>
            </a:xfrm>
          </p:grpSpPr>
          <p:sp>
            <p:nvSpPr>
              <p:cNvPr id="78853" name="Oval 6"/>
              <p:cNvSpPr/>
              <p:nvPr>
                <p:custDataLst>
                  <p:tags r:id="rId2"/>
                </p:custDataLst>
              </p:nvPr>
            </p:nvSpPr>
            <p:spPr>
              <a:xfrm>
                <a:off x="0" y="0"/>
                <a:ext cx="1451" cy="1451"/>
              </a:xfrm>
              <a:prstGeom prst="ellipse">
                <a:avLst/>
              </a:prstGeom>
              <a:solidFill>
                <a:schemeClr val="accent2"/>
              </a:solidFill>
              <a:ln w="9525">
                <a:noFill/>
              </a:ln>
            </p:spPr>
            <p:txBody>
              <a:bodyPr wrap="none" anchor="ctr" anchorCtr="0"/>
              <a:p>
                <a:pPr algn="ctr"/>
                <a:r>
                  <a:rPr lang="zh-CN" altLang="en-US" sz="2400" dirty="0">
                    <a:solidFill>
                      <a:schemeClr val="lt1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大学英语</a:t>
                </a:r>
                <a:endParaRPr lang="zh-CN" altLang="en-US" sz="2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78854" name="Group 7"/>
              <p:cNvGrpSpPr/>
              <p:nvPr/>
            </p:nvGrpSpPr>
            <p:grpSpPr>
              <a:xfrm rot="-3733502" flipH="1" flipV="1">
                <a:off x="428" y="1008"/>
                <a:ext cx="1263" cy="306"/>
                <a:chOff x="0" y="0"/>
                <a:chExt cx="893" cy="246"/>
              </a:xfrm>
            </p:grpSpPr>
            <p:grpSp>
              <p:nvGrpSpPr>
                <p:cNvPr id="78855" name="Group 8"/>
                <p:cNvGrpSpPr/>
                <p:nvPr/>
              </p:nvGrpSpPr>
              <p:grpSpPr>
                <a:xfrm>
                  <a:off x="0" y="0"/>
                  <a:ext cx="743" cy="185"/>
                  <a:chOff x="0" y="0"/>
                  <a:chExt cx="1118" cy="279"/>
                </a:xfrm>
              </p:grpSpPr>
              <p:sp>
                <p:nvSpPr>
                  <p:cNvPr id="78856" name="AutoShape 9"/>
                  <p:cNvSpPr/>
                  <p:nvPr>
                    <p:custDataLst>
                      <p:tags r:id="rId3"/>
                    </p:custDataLst>
                  </p:nvPr>
                </p:nvSpPr>
                <p:spPr>
                  <a:xfrm rot="5263130">
                    <a:off x="289" y="-29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78857" name="AutoShape 10"/>
                  <p:cNvSpPr/>
                  <p:nvPr>
                    <p:custDataLst>
                      <p:tags r:id="rId4"/>
                    </p:custDataLst>
                  </p:nvPr>
                </p:nvSpPr>
                <p:spPr>
                  <a:xfrm rot="6078281">
                    <a:off x="425" y="-29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78858" name="AutoShape 11"/>
                  <p:cNvSpPr/>
                  <p:nvPr>
                    <p:custDataLst>
                      <p:tags r:id="rId5"/>
                    </p:custDataLst>
                  </p:nvPr>
                </p:nvSpPr>
                <p:spPr>
                  <a:xfrm rot="6373927">
                    <a:off x="501" y="-272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78859" name="AutoShape 12"/>
                  <p:cNvSpPr/>
                  <p:nvPr>
                    <p:custDataLst>
                      <p:tags r:id="rId6"/>
                    </p:custDataLst>
                  </p:nvPr>
                </p:nvSpPr>
                <p:spPr>
                  <a:xfrm rot="6906312">
                    <a:off x="591" y="-242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  <p:grpSp>
              <p:nvGrpSpPr>
                <p:cNvPr id="78860" name="Group 13"/>
                <p:cNvGrpSpPr/>
                <p:nvPr/>
              </p:nvGrpSpPr>
              <p:grpSpPr>
                <a:xfrm rot="1353540">
                  <a:off x="150" y="60"/>
                  <a:ext cx="743" cy="186"/>
                  <a:chOff x="0" y="0"/>
                  <a:chExt cx="1118" cy="279"/>
                </a:xfrm>
              </p:grpSpPr>
              <p:sp>
                <p:nvSpPr>
                  <p:cNvPr id="78861" name="AutoShape 14"/>
                  <p:cNvSpPr/>
                  <p:nvPr>
                    <p:custDataLst>
                      <p:tags r:id="rId7"/>
                    </p:custDataLst>
                  </p:nvPr>
                </p:nvSpPr>
                <p:spPr>
                  <a:xfrm rot="5263130">
                    <a:off x="289" y="-29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78862" name="AutoShape 15"/>
                  <p:cNvSpPr/>
                  <p:nvPr>
                    <p:custDataLst>
                      <p:tags r:id="rId8"/>
                    </p:custDataLst>
                  </p:nvPr>
                </p:nvSpPr>
                <p:spPr>
                  <a:xfrm rot="6078281">
                    <a:off x="425" y="-294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78863" name="AutoShape 16"/>
                  <p:cNvSpPr/>
                  <p:nvPr>
                    <p:custDataLst>
                      <p:tags r:id="rId9"/>
                    </p:custDataLst>
                  </p:nvPr>
                </p:nvSpPr>
                <p:spPr>
                  <a:xfrm rot="6373927">
                    <a:off x="501" y="-272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  <p:sp>
                <p:nvSpPr>
                  <p:cNvPr id="78864" name="AutoShape 17"/>
                  <p:cNvSpPr/>
                  <p:nvPr>
                    <p:custDataLst>
                      <p:tags r:id="rId10"/>
                    </p:custDataLst>
                  </p:nvPr>
                </p:nvSpPr>
                <p:spPr>
                  <a:xfrm rot="6906312">
                    <a:off x="591" y="-242"/>
                    <a:ext cx="227" cy="816"/>
                  </a:xfrm>
                  <a:prstGeom prst="moon">
                    <a:avLst>
                      <a:gd name="adj" fmla="val 49773"/>
                    </a:avLst>
                  </a:prstGeom>
                  <a:solidFill>
                    <a:srgbClr val="F8F8F8">
                      <a:alpha val="3922"/>
                    </a:srgbClr>
                  </a:solidFill>
                  <a:ln w="9525">
                    <a:noFill/>
                  </a:ln>
                </p:spPr>
                <p:txBody>
                  <a:bodyPr wrap="none" anchor="ctr" anchorCtr="0"/>
                  <a:p>
                    <a:pPr algn="ctr">
                      <a:spcBef>
                        <a:spcPct val="50000"/>
                      </a:spcBef>
                    </a:pPr>
                    <a:endParaRPr lang="zh-CN" altLang="en-US" sz="2000" dirty="0">
                      <a:solidFill>
                        <a:schemeClr val="dk1"/>
                      </a:solidFill>
                      <a:latin typeface="微软雅黑" panose="020B0503020204020204" pitchFamily="34" charset="-122"/>
                      <a:ea typeface="微软雅黑" panose="020B0503020204020204" pitchFamily="34" charset="-122"/>
                    </a:endParaRPr>
                  </a:p>
                </p:txBody>
              </p:sp>
            </p:grpSp>
          </p:grpSp>
        </p:grpSp>
      </p:grpSp>
      <p:sp>
        <p:nvSpPr>
          <p:cNvPr id="78865" name="Line 18"/>
          <p:cNvSpPr/>
          <p:nvPr/>
        </p:nvSpPr>
        <p:spPr>
          <a:xfrm rot="10800000">
            <a:off x="7197725" y="3636010"/>
            <a:ext cx="342900" cy="107950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866" name="Line 19"/>
          <p:cNvSpPr/>
          <p:nvPr/>
        </p:nvSpPr>
        <p:spPr>
          <a:xfrm rot="10576393" flipV="1">
            <a:off x="6989763" y="4817110"/>
            <a:ext cx="400050" cy="88900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867" name="Line 21"/>
          <p:cNvSpPr/>
          <p:nvPr/>
        </p:nvSpPr>
        <p:spPr>
          <a:xfrm rot="-8570644" flipV="1">
            <a:off x="7042150" y="4248785"/>
            <a:ext cx="247650" cy="190500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868" name="Line 22"/>
          <p:cNvSpPr/>
          <p:nvPr/>
        </p:nvSpPr>
        <p:spPr>
          <a:xfrm rot="5215082" flipH="1" flipV="1">
            <a:off x="9285288" y="3040698"/>
            <a:ext cx="95250" cy="504825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869" name="Line 23"/>
          <p:cNvSpPr/>
          <p:nvPr/>
        </p:nvSpPr>
        <p:spPr>
          <a:xfrm rot="-6531493" flipH="1">
            <a:off x="9585325" y="4929823"/>
            <a:ext cx="247650" cy="190500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870" name="Line 24"/>
          <p:cNvSpPr/>
          <p:nvPr/>
        </p:nvSpPr>
        <p:spPr>
          <a:xfrm rot="-10558711" flipH="1" flipV="1">
            <a:off x="9504363" y="3716973"/>
            <a:ext cx="438150" cy="4762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grpSp>
        <p:nvGrpSpPr>
          <p:cNvPr id="78871" name="Group 25"/>
          <p:cNvGrpSpPr/>
          <p:nvPr/>
        </p:nvGrpSpPr>
        <p:grpSpPr>
          <a:xfrm>
            <a:off x="5838825" y="3088323"/>
            <a:ext cx="1384300" cy="677862"/>
            <a:chOff x="0" y="0"/>
            <a:chExt cx="872" cy="427"/>
          </a:xfrm>
        </p:grpSpPr>
        <p:sp>
          <p:nvSpPr>
            <p:cNvPr id="62523" name="AutoShape 26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73" name="AutoShape 27"/>
            <p:cNvSpPr/>
            <p:nvPr>
              <p:custDataLst>
                <p:tags r:id="rId11"/>
              </p:custDataLst>
            </p:nvPr>
          </p:nvSpPr>
          <p:spPr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solidFill>
              <a:schemeClr val="hlink">
                <a:alpha val="96077"/>
              </a:scheme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74" name="Rectangle 28"/>
            <p:cNvSpPr/>
            <p:nvPr/>
          </p:nvSpPr>
          <p:spPr>
            <a:xfrm>
              <a:off x="39" y="111"/>
              <a:ext cx="787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学影像技术</a:t>
              </a:r>
              <a:endParaRPr lang="zh-CN" altLang="en-US" sz="14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75" name="Group 29"/>
          <p:cNvGrpSpPr/>
          <p:nvPr/>
        </p:nvGrpSpPr>
        <p:grpSpPr>
          <a:xfrm>
            <a:off x="9053513" y="5874385"/>
            <a:ext cx="1382712" cy="679450"/>
            <a:chOff x="0" y="0"/>
            <a:chExt cx="871" cy="427"/>
          </a:xfrm>
        </p:grpSpPr>
        <p:sp>
          <p:nvSpPr>
            <p:cNvPr id="62520" name="AutoShape 30"/>
            <p:cNvSpPr>
              <a:spLocks noChangeArrowheads="1"/>
            </p:cNvSpPr>
            <p:nvPr/>
          </p:nvSpPr>
          <p:spPr bwMode="auto">
            <a:xfrm flipH="1">
              <a:off x="0" y="0"/>
              <a:ext cx="871" cy="427"/>
            </a:xfrm>
            <a:prstGeom prst="roundRect">
              <a:avLst>
                <a:gd name="adj" fmla="val 50000"/>
              </a:avLst>
            </a:prstGeom>
            <a:solidFill>
              <a:srgbClr val="B2B2B2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77" name="AutoShape 31"/>
            <p:cNvSpPr/>
            <p:nvPr>
              <p:custDataLst>
                <p:tags r:id="rId12"/>
              </p:custDataLst>
            </p:nvPr>
          </p:nvSpPr>
          <p:spPr>
            <a:xfrm flipH="1">
              <a:off x="23" y="24"/>
              <a:ext cx="819" cy="370"/>
            </a:xfrm>
            <a:prstGeom prst="roundRect">
              <a:avLst>
                <a:gd name="adj" fmla="val 50000"/>
              </a:avLst>
            </a:prstGeom>
            <a:solidFill>
              <a:schemeClr val="accent2">
                <a:alpha val="70195"/>
              </a:scheme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78" name="Rectangle 32"/>
            <p:cNvSpPr/>
            <p:nvPr/>
          </p:nvSpPr>
          <p:spPr>
            <a:xfrm>
              <a:off x="263" y="119"/>
              <a:ext cx="339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药学</a:t>
              </a:r>
              <a:endPara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79" name="Group 33"/>
          <p:cNvGrpSpPr/>
          <p:nvPr/>
        </p:nvGrpSpPr>
        <p:grpSpPr>
          <a:xfrm>
            <a:off x="5605463" y="3921760"/>
            <a:ext cx="1384300" cy="677863"/>
            <a:chOff x="0" y="0"/>
            <a:chExt cx="872" cy="427"/>
          </a:xfrm>
        </p:grpSpPr>
        <p:sp>
          <p:nvSpPr>
            <p:cNvPr id="62517" name="AutoShape 34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81" name="AutoShape 35"/>
            <p:cNvSpPr/>
            <p:nvPr>
              <p:custDataLst>
                <p:tags r:id="rId13"/>
              </p:custDataLst>
            </p:nvPr>
          </p:nvSpPr>
          <p:spPr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alpha val="96077"/>
              </a:scheme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/>
              <a:endParaRPr lang="zh-CN" altLang="en-US" sz="1000" b="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82" name="Rectangle 36"/>
            <p:cNvSpPr/>
            <p:nvPr/>
          </p:nvSpPr>
          <p:spPr>
            <a:xfrm>
              <a:off x="148" y="102"/>
              <a:ext cx="563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口腔医学</a:t>
              </a:r>
              <a:endParaRPr lang="zh-CN" altLang="en-US" sz="14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83" name="Group 37"/>
          <p:cNvGrpSpPr/>
          <p:nvPr/>
        </p:nvGrpSpPr>
        <p:grpSpPr>
          <a:xfrm>
            <a:off x="5692775" y="4744085"/>
            <a:ext cx="1384300" cy="679450"/>
            <a:chOff x="0" y="0"/>
            <a:chExt cx="872" cy="427"/>
          </a:xfrm>
        </p:grpSpPr>
        <p:sp>
          <p:nvSpPr>
            <p:cNvPr id="62514" name="AutoShape 38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85" name="AutoShape 39"/>
            <p:cNvSpPr/>
            <p:nvPr>
              <p:custDataLst>
                <p:tags r:id="rId14"/>
              </p:custDataLst>
            </p:nvPr>
          </p:nvSpPr>
          <p:spPr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solidFill>
              <a:schemeClr val="folHlink">
                <a:alpha val="96077"/>
              </a:scheme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86" name="Rectangle 40"/>
            <p:cNvSpPr/>
            <p:nvPr/>
          </p:nvSpPr>
          <p:spPr>
            <a:xfrm>
              <a:off x="37" y="111"/>
              <a:ext cx="787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康复治疗技术</a:t>
              </a:r>
              <a:endParaRPr lang="zh-CN" altLang="en-US" sz="14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87" name="Group 41"/>
          <p:cNvGrpSpPr/>
          <p:nvPr/>
        </p:nvGrpSpPr>
        <p:grpSpPr>
          <a:xfrm>
            <a:off x="10013950" y="3304223"/>
            <a:ext cx="1384300" cy="677862"/>
            <a:chOff x="0" y="0"/>
            <a:chExt cx="872" cy="427"/>
          </a:xfrm>
        </p:grpSpPr>
        <p:sp>
          <p:nvSpPr>
            <p:cNvPr id="62511" name="AutoShape 42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89" name="AutoShape 43"/>
            <p:cNvSpPr/>
            <p:nvPr>
              <p:custDataLst>
                <p:tags r:id="rId15"/>
              </p:custDataLst>
            </p:nvPr>
          </p:nvSpPr>
          <p:spPr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solidFill>
              <a:schemeClr val="dk2">
                <a:alpha val="96077"/>
              </a:scheme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90" name="Rectangle 44"/>
            <p:cNvSpPr/>
            <p:nvPr/>
          </p:nvSpPr>
          <p:spPr>
            <a:xfrm>
              <a:off x="261" y="111"/>
              <a:ext cx="339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助产</a:t>
              </a:r>
              <a:endParaRPr lang="zh-CN" altLang="en-US" sz="14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91" name="Group 45"/>
          <p:cNvGrpSpPr/>
          <p:nvPr/>
        </p:nvGrpSpPr>
        <p:grpSpPr>
          <a:xfrm>
            <a:off x="9582150" y="2512060"/>
            <a:ext cx="1382713" cy="677863"/>
            <a:chOff x="0" y="0"/>
            <a:chExt cx="871" cy="427"/>
          </a:xfrm>
        </p:grpSpPr>
        <p:sp>
          <p:nvSpPr>
            <p:cNvPr id="62508" name="AutoShape 46"/>
            <p:cNvSpPr>
              <a:spLocks noChangeArrowheads="1"/>
            </p:cNvSpPr>
            <p:nvPr/>
          </p:nvSpPr>
          <p:spPr bwMode="auto">
            <a:xfrm flipH="1">
              <a:off x="0" y="0"/>
              <a:ext cx="871" cy="427"/>
            </a:xfrm>
            <a:prstGeom prst="roundRect">
              <a:avLst>
                <a:gd name="adj" fmla="val 50000"/>
              </a:avLst>
            </a:prstGeom>
            <a:solidFill>
              <a:srgbClr val="B2B2B2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93" name="AutoShape 47"/>
            <p:cNvSpPr/>
            <p:nvPr>
              <p:custDataLst>
                <p:tags r:id="rId16"/>
              </p:custDataLst>
            </p:nvPr>
          </p:nvSpPr>
          <p:spPr>
            <a:xfrm flipH="1">
              <a:off x="23" y="24"/>
              <a:ext cx="819" cy="370"/>
            </a:xfrm>
            <a:prstGeom prst="roundRect">
              <a:avLst>
                <a:gd name="adj" fmla="val 50000"/>
              </a:avLst>
            </a:prstGeom>
            <a:solidFill>
              <a:srgbClr val="FFFF00">
                <a:alpha val="70195"/>
              </a:srgb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94" name="Rectangle 48"/>
            <p:cNvSpPr/>
            <p:nvPr/>
          </p:nvSpPr>
          <p:spPr>
            <a:xfrm>
              <a:off x="278" y="113"/>
              <a:ext cx="339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护理</a:t>
              </a:r>
              <a:endPara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95" name="Group 53"/>
          <p:cNvGrpSpPr/>
          <p:nvPr/>
        </p:nvGrpSpPr>
        <p:grpSpPr>
          <a:xfrm>
            <a:off x="9801225" y="5004435"/>
            <a:ext cx="1381125" cy="677863"/>
            <a:chOff x="0" y="0"/>
            <a:chExt cx="871" cy="427"/>
          </a:xfrm>
        </p:grpSpPr>
        <p:sp>
          <p:nvSpPr>
            <p:cNvPr id="62505" name="AutoShape 54"/>
            <p:cNvSpPr>
              <a:spLocks noChangeArrowheads="1"/>
            </p:cNvSpPr>
            <p:nvPr/>
          </p:nvSpPr>
          <p:spPr bwMode="auto">
            <a:xfrm flipH="1">
              <a:off x="0" y="0"/>
              <a:ext cx="871" cy="427"/>
            </a:xfrm>
            <a:prstGeom prst="roundRect">
              <a:avLst>
                <a:gd name="adj" fmla="val 50000"/>
              </a:avLst>
            </a:prstGeom>
            <a:solidFill>
              <a:srgbClr val="B2B2B2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897" name="AutoShape 55"/>
            <p:cNvSpPr/>
            <p:nvPr>
              <p:custDataLst>
                <p:tags r:id="rId17"/>
              </p:custDataLst>
            </p:nvPr>
          </p:nvSpPr>
          <p:spPr>
            <a:xfrm flipH="1">
              <a:off x="23" y="24"/>
              <a:ext cx="819" cy="370"/>
            </a:xfrm>
            <a:prstGeom prst="roundRect">
              <a:avLst>
                <a:gd name="adj" fmla="val 50000"/>
              </a:avLst>
            </a:prstGeom>
            <a:solidFill>
              <a:srgbClr val="800080">
                <a:alpha val="70195"/>
              </a:srgb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898" name="Rectangle 56"/>
            <p:cNvSpPr/>
            <p:nvPr/>
          </p:nvSpPr>
          <p:spPr>
            <a:xfrm>
              <a:off x="258" y="95"/>
              <a:ext cx="378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药</a:t>
              </a:r>
              <a:endParaRPr lang="zh-CN" altLang="en-US" sz="14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899" name="Group 58"/>
          <p:cNvGrpSpPr/>
          <p:nvPr/>
        </p:nvGrpSpPr>
        <p:grpSpPr>
          <a:xfrm flipH="1">
            <a:off x="6335713" y="1229360"/>
            <a:ext cx="5286375" cy="765028"/>
            <a:chOff x="0" y="0"/>
            <a:chExt cx="3368" cy="441"/>
          </a:xfrm>
        </p:grpSpPr>
        <p:sp>
          <p:nvSpPr>
            <p:cNvPr id="78900" name="AutoShape 59"/>
            <p:cNvSpPr/>
            <p:nvPr>
              <p:custDataLst>
                <p:tags r:id="rId18"/>
              </p:custDataLst>
            </p:nvPr>
          </p:nvSpPr>
          <p:spPr>
            <a:xfrm>
              <a:off x="0" y="0"/>
              <a:ext cx="3368" cy="439"/>
            </a:xfrm>
            <a:prstGeom prst="wedgeRectCallout">
              <a:avLst>
                <a:gd name="adj1" fmla="val 15097"/>
                <a:gd name="adj2" fmla="val 120778"/>
              </a:avLst>
            </a:prstGeom>
            <a:solidFill>
              <a:srgbClr val="FFFFFF"/>
            </a:solidFill>
            <a:ln w="38100" cap="flat" cmpd="sng">
              <a:solidFill>
                <a:schemeClr val="accent2"/>
              </a:solidFill>
              <a:prstDash val="solid"/>
              <a:miter/>
              <a:headEnd type="none" w="med" len="med"/>
              <a:tailEnd type="none" w="med" len="med"/>
            </a:ln>
          </p:spPr>
          <p:txBody>
            <a:bodyPr anchor="t" anchorCtr="0"/>
            <a:p>
              <a:pPr algn="ctr"/>
              <a:endParaRPr lang="zh-CN" altLang="en-US" sz="1800" b="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901" name="Rectangle 60"/>
            <p:cNvSpPr/>
            <p:nvPr>
              <p:custDataLst>
                <p:tags r:id="rId19"/>
              </p:custDataLst>
            </p:nvPr>
          </p:nvSpPr>
          <p:spPr>
            <a:xfrm>
              <a:off x="96" y="34"/>
              <a:ext cx="3136" cy="407"/>
            </a:xfrm>
            <a:prstGeom prst="rect">
              <a:avLst/>
            </a:prstGeom>
            <a:noFill/>
            <a:ln w="9525">
              <a:noFill/>
            </a:ln>
          </p:spPr>
          <p:txBody>
            <a:bodyPr anchor="t" anchorCtr="0">
              <a:spAutoFit/>
            </a:bodyPr>
            <a:p>
              <a:pPr eaLnBrk="0" hangingPunct="0"/>
              <a:r>
                <a:rPr lang="zh-CN" altLang="en-US" sz="2000" dirty="0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大学英语</a:t>
              </a:r>
              <a:r>
                <a:rPr lang="zh-CN" altLang="en-US" sz="2000" b="0" dirty="0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是一门公共必修课</a:t>
              </a:r>
              <a:r>
                <a:rPr lang="en-US" altLang="zh-CN" sz="2000" b="0" dirty="0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,</a:t>
              </a:r>
              <a:r>
                <a:rPr lang="zh-CN" altLang="en-US" sz="2000" b="0" dirty="0">
                  <a:solidFill>
                    <a:schemeClr val="dk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面向我校所有专业的成人班学生。</a:t>
              </a:r>
              <a:endParaRPr lang="zh-CN" altLang="en-US" sz="2000" b="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</p:grpSp>
      <p:sp>
        <p:nvSpPr>
          <p:cNvPr id="78902" name="Line 23"/>
          <p:cNvSpPr/>
          <p:nvPr/>
        </p:nvSpPr>
        <p:spPr>
          <a:xfrm rot="-6531493" flipH="1">
            <a:off x="9028113" y="5596573"/>
            <a:ext cx="508000" cy="130175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grpSp>
        <p:nvGrpSpPr>
          <p:cNvPr id="78903" name="Group 25"/>
          <p:cNvGrpSpPr/>
          <p:nvPr/>
        </p:nvGrpSpPr>
        <p:grpSpPr>
          <a:xfrm>
            <a:off x="6557963" y="2296160"/>
            <a:ext cx="1384300" cy="679450"/>
            <a:chOff x="0" y="0"/>
            <a:chExt cx="872" cy="427"/>
          </a:xfrm>
        </p:grpSpPr>
        <p:sp>
          <p:nvSpPr>
            <p:cNvPr id="62500" name="AutoShape 26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905" name="AutoShape 27"/>
            <p:cNvSpPr/>
            <p:nvPr>
              <p:custDataLst>
                <p:tags r:id="rId20"/>
              </p:custDataLst>
            </p:nvPr>
          </p:nvSpPr>
          <p:spPr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solidFill>
              <a:srgbClr val="00B050">
                <a:alpha val="96077"/>
              </a:srgb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906" name="Rectangle 28"/>
            <p:cNvSpPr/>
            <p:nvPr/>
          </p:nvSpPr>
          <p:spPr>
            <a:xfrm>
              <a:off x="149" y="111"/>
              <a:ext cx="563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临床医学</a:t>
              </a:r>
              <a:endParaRPr lang="zh-CN" altLang="en-US" sz="14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8907" name="Line 18"/>
          <p:cNvSpPr/>
          <p:nvPr/>
        </p:nvSpPr>
        <p:spPr>
          <a:xfrm rot="10800000">
            <a:off x="7781925" y="3024823"/>
            <a:ext cx="273050" cy="322262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grpSp>
        <p:nvGrpSpPr>
          <p:cNvPr id="78908" name="Group 37"/>
          <p:cNvGrpSpPr/>
          <p:nvPr/>
        </p:nvGrpSpPr>
        <p:grpSpPr>
          <a:xfrm>
            <a:off x="6035675" y="5537835"/>
            <a:ext cx="1384300" cy="676275"/>
            <a:chOff x="0" y="0"/>
            <a:chExt cx="872" cy="427"/>
          </a:xfrm>
        </p:grpSpPr>
        <p:sp>
          <p:nvSpPr>
            <p:cNvPr id="62497" name="AutoShape 38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2498" name="AutoShape 39"/>
            <p:cNvSpPr>
              <a:spLocks noChangeArrowheads="1"/>
            </p:cNvSpPr>
            <p:nvPr/>
          </p:nvSpPr>
          <p:spPr bwMode="auto"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CD4545"/>
                </a:gs>
                <a:gs pos="80000">
                  <a:srgbClr val="FF5D5D"/>
                </a:gs>
                <a:gs pos="100000">
                  <a:srgbClr val="FF5A5A"/>
                </a:gs>
              </a:gsLst>
              <a:lin ang="5400000"/>
            </a:gradFill>
            <a:ln w="9525">
              <a:solidFill>
                <a:srgbClr val="FD6F6F"/>
              </a:solidFill>
              <a:round/>
            </a:ln>
            <a:effectLst>
              <a:outerShdw dist="23000" dir="5400000" algn="ctr" rotWithShape="0">
                <a:srgbClr val="000000">
                  <a:alpha val="31998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911" name="Rectangle 40"/>
            <p:cNvSpPr/>
            <p:nvPr/>
          </p:nvSpPr>
          <p:spPr>
            <a:xfrm>
              <a:off x="261" y="111"/>
              <a:ext cx="339" cy="194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chemeClr val="lt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中医</a:t>
              </a:r>
              <a:endParaRPr lang="zh-CN" altLang="en-US" sz="1400" dirty="0">
                <a:solidFill>
                  <a:schemeClr val="l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912" name="Group 37"/>
          <p:cNvGrpSpPr/>
          <p:nvPr/>
        </p:nvGrpSpPr>
        <p:grpSpPr>
          <a:xfrm>
            <a:off x="7475538" y="5969635"/>
            <a:ext cx="1384300" cy="677863"/>
            <a:chOff x="0" y="0"/>
            <a:chExt cx="872" cy="427"/>
          </a:xfrm>
        </p:grpSpPr>
        <p:sp>
          <p:nvSpPr>
            <p:cNvPr id="62494" name="AutoShape 38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62495" name="AutoShape 39"/>
            <p:cNvSpPr>
              <a:spLocks noChangeArrowheads="1"/>
            </p:cNvSpPr>
            <p:nvPr/>
          </p:nvSpPr>
          <p:spPr bwMode="auto"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BEB3AD"/>
                </a:gs>
                <a:gs pos="80000">
                  <a:srgbClr val="F9EAE2"/>
                </a:gs>
                <a:gs pos="100000">
                  <a:srgbClr val="FAEAE3"/>
                </a:gs>
              </a:gsLst>
              <a:lin ang="5400000"/>
            </a:gradFill>
            <a:ln w="9525">
              <a:solidFill>
                <a:srgbClr val="F9ECE6"/>
              </a:solidFill>
              <a:round/>
            </a:ln>
            <a:effectLst>
              <a:outerShdw dist="23000" dir="5400000" algn="ctr" rotWithShape="0">
                <a:srgbClr val="000000">
                  <a:alpha val="31998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915" name="Rectangle 40"/>
            <p:cNvSpPr/>
            <p:nvPr/>
          </p:nvSpPr>
          <p:spPr>
            <a:xfrm>
              <a:off x="150" y="111"/>
              <a:ext cx="563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针灸推拿</a:t>
              </a:r>
              <a:endPara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8916" name="Group 49"/>
          <p:cNvGrpSpPr/>
          <p:nvPr/>
        </p:nvGrpSpPr>
        <p:grpSpPr>
          <a:xfrm>
            <a:off x="10048875" y="4109085"/>
            <a:ext cx="1384300" cy="677863"/>
            <a:chOff x="0" y="0"/>
            <a:chExt cx="871" cy="427"/>
          </a:xfrm>
        </p:grpSpPr>
        <p:sp>
          <p:nvSpPr>
            <p:cNvPr id="62491" name="AutoShape 50"/>
            <p:cNvSpPr>
              <a:spLocks noChangeArrowheads="1"/>
            </p:cNvSpPr>
            <p:nvPr/>
          </p:nvSpPr>
          <p:spPr bwMode="auto">
            <a:xfrm flipH="1">
              <a:off x="0" y="0"/>
              <a:ext cx="871" cy="427"/>
            </a:xfrm>
            <a:prstGeom prst="roundRect">
              <a:avLst>
                <a:gd name="adj" fmla="val 50000"/>
              </a:avLst>
            </a:prstGeom>
            <a:solidFill>
              <a:srgbClr val="B2B2B2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8918" name="AutoShape 51"/>
            <p:cNvSpPr/>
            <p:nvPr>
              <p:custDataLst>
                <p:tags r:id="rId21"/>
              </p:custDataLst>
            </p:nvPr>
          </p:nvSpPr>
          <p:spPr>
            <a:xfrm flipH="1">
              <a:off x="23" y="25"/>
              <a:ext cx="819" cy="370"/>
            </a:xfrm>
            <a:prstGeom prst="roundRect">
              <a:avLst>
                <a:gd name="adj" fmla="val 50000"/>
              </a:avLst>
            </a:prstGeom>
            <a:solidFill>
              <a:srgbClr val="969696">
                <a:alpha val="70195"/>
              </a:srgbClr>
            </a:solidFill>
            <a:ln w="19050" cap="flat" cmpd="sng">
              <a:solidFill>
                <a:srgbClr val="F8F8F8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 anchorCtr="0"/>
            <a:p>
              <a:pPr algn="ctr">
                <a:spcBef>
                  <a:spcPct val="50000"/>
                </a:spcBef>
              </a:pPr>
              <a:endParaRPr lang="zh-CN" altLang="en-US" sz="2000" dirty="0">
                <a:solidFill>
                  <a:schemeClr val="dk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919" name="Rectangle 52"/>
            <p:cNvSpPr/>
            <p:nvPr/>
          </p:nvSpPr>
          <p:spPr>
            <a:xfrm>
              <a:off x="55" y="114"/>
              <a:ext cx="786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医学检验技术</a:t>
              </a:r>
              <a:endPara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78920" name="Line 19"/>
          <p:cNvSpPr/>
          <p:nvPr/>
        </p:nvSpPr>
        <p:spPr>
          <a:xfrm rot="10576393" flipV="1">
            <a:off x="7283450" y="5280660"/>
            <a:ext cx="404813" cy="311150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921" name="Line 19"/>
          <p:cNvSpPr/>
          <p:nvPr/>
        </p:nvSpPr>
        <p:spPr>
          <a:xfrm rot="10576393" flipV="1">
            <a:off x="8070850" y="5609273"/>
            <a:ext cx="319088" cy="354012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922" name="Line 23"/>
          <p:cNvSpPr/>
          <p:nvPr/>
        </p:nvSpPr>
        <p:spPr>
          <a:xfrm rot="-6531493" flipH="1">
            <a:off x="9796463" y="4136073"/>
            <a:ext cx="187325" cy="295275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sp>
        <p:nvSpPr>
          <p:cNvPr id="78923" name="Line 18"/>
          <p:cNvSpPr/>
          <p:nvPr/>
        </p:nvSpPr>
        <p:spPr>
          <a:xfrm rot="-10800000" flipH="1">
            <a:off x="8631238" y="2800985"/>
            <a:ext cx="14287" cy="393700"/>
          </a:xfrm>
          <a:prstGeom prst="line">
            <a:avLst/>
          </a:prstGeom>
          <a:ln w="76200" cap="flat" cmpd="sng">
            <a:solidFill>
              <a:srgbClr val="C0C0C0"/>
            </a:solidFill>
            <a:prstDash val="solid"/>
            <a:round/>
            <a:headEnd type="none" w="med" len="med"/>
            <a:tailEnd type="triangle" w="med" len="med"/>
          </a:ln>
        </p:spPr>
      </p:sp>
      <p:grpSp>
        <p:nvGrpSpPr>
          <p:cNvPr id="78924" name="Group 25"/>
          <p:cNvGrpSpPr/>
          <p:nvPr/>
        </p:nvGrpSpPr>
        <p:grpSpPr>
          <a:xfrm>
            <a:off x="8286750" y="2080260"/>
            <a:ext cx="1384300" cy="679450"/>
            <a:chOff x="0" y="0"/>
            <a:chExt cx="872" cy="427"/>
          </a:xfrm>
        </p:grpSpPr>
        <p:sp>
          <p:nvSpPr>
            <p:cNvPr id="78" name="AutoShape 26"/>
            <p:cNvSpPr>
              <a:spLocks noChangeArrowheads="1"/>
            </p:cNvSpPr>
            <p:nvPr/>
          </p:nvSpPr>
          <p:spPr bwMode="auto">
            <a:xfrm>
              <a:off x="0" y="0"/>
              <a:ext cx="872" cy="427"/>
            </a:xfrm>
            <a:prstGeom prst="roundRect">
              <a:avLst>
                <a:gd name="adj" fmla="val 50000"/>
              </a:avLst>
            </a:prstGeom>
            <a:solidFill>
              <a:srgbClr val="C0C0C0"/>
            </a:solidFill>
            <a:ln w="9525">
              <a:noFill/>
              <a:round/>
            </a:ln>
            <a:effectLst>
              <a:outerShdw dist="63500" dir="3187806" algn="ctr" rotWithShape="0">
                <a:srgbClr val="1C1C1C">
                  <a:alpha val="50000"/>
                </a:srgbClr>
              </a:outerShdw>
            </a:effectLst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sp>
          <p:nvSpPr>
            <p:cNvPr id="79" name="AutoShape 27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1" y="25"/>
              <a:ext cx="820" cy="370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  <a:alpha val="96000"/>
              </a:schemeClr>
            </a:solidFill>
            <a:ln w="19050">
              <a:solidFill>
                <a:srgbClr val="F8F8F8"/>
              </a:solidFill>
              <a:round/>
            </a:ln>
          </p:spPr>
          <p:txBody>
            <a:bodyPr wrap="none" anchor="ctr"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defRPr/>
              </a:pPr>
              <a:endParaRPr kumimoji="0" lang="zh-CN" alt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78927" name="Rectangle 28"/>
            <p:cNvSpPr/>
            <p:nvPr/>
          </p:nvSpPr>
          <p:spPr>
            <a:xfrm>
              <a:off x="150" y="111"/>
              <a:ext cx="563" cy="193"/>
            </a:xfrm>
            <a:prstGeom prst="rect">
              <a:avLst/>
            </a:prstGeom>
            <a:noFill/>
            <a:ln w="9525">
              <a:noFill/>
            </a:ln>
          </p:spPr>
          <p:txBody>
            <a:bodyPr wrap="none" anchor="t" anchorCtr="0">
              <a:spAutoFit/>
            </a:bodyPr>
            <a:p>
              <a:pPr algn="ctr" eaLnBrk="0" hangingPunct="0"/>
              <a:r>
                <a:rPr lang="zh-CN" altLang="en-US" sz="14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预防医学</a:t>
              </a:r>
              <a:endPara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771" name="Rectangle 3"/>
          <p:cNvSpPr>
            <a:spLocks noGrp="1"/>
          </p:cNvSpPr>
          <p:nvPr>
            <p:ph idx="1"/>
          </p:nvPr>
        </p:nvSpPr>
        <p:spPr>
          <a:xfrm>
            <a:off x="267970" y="1759585"/>
            <a:ext cx="4973320" cy="4114800"/>
          </a:xfrm>
        </p:spPr>
        <p:txBody>
          <a:bodyPr vert="horz" wrap="square" lIns="91440" tIns="45720" rIns="91440" bIns="45720" anchor="t"/>
          <a:p>
            <a:pPr algn="ctr" eaLnBrk="1" fontAlgn="base" hangingPunct="1">
              <a:lnSpc>
                <a:spcPct val="90000"/>
              </a:lnSpc>
            </a:pPr>
            <a:r>
              <a:rPr lang="en-US" altLang="zh-CN" sz="2400" b="1" strike="noStrike" noProof="1" dirty="0"/>
              <a:t>Courses </a:t>
            </a:r>
            <a:r>
              <a:rPr lang="en-US" altLang="zh-CN" sz="2400" b="1" strike="noStrike" noProof="1" dirty="0">
                <a:gradFill>
                  <a:gsLst>
                    <a:gs pos="0">
                      <a:srgbClr val="E30000"/>
                    </a:gs>
                    <a:gs pos="100000">
                      <a:srgbClr val="760303"/>
                    </a:gs>
                  </a:gsLst>
                  <a:lin scaled="0"/>
                </a:gradFill>
              </a:rPr>
              <a:t>(curriculum)</a:t>
            </a:r>
            <a:endParaRPr lang="en-US" altLang="zh-CN" sz="2400" b="1" strike="noStrike" noProof="1" dirty="0">
              <a:gradFill>
                <a:gsLst>
                  <a:gs pos="0">
                    <a:srgbClr val="E30000"/>
                  </a:gs>
                  <a:gs pos="100000">
                    <a:srgbClr val="760303"/>
                  </a:gs>
                </a:gsLst>
                <a:lin scaled="0"/>
              </a:gradFill>
            </a:endParaRPr>
          </a:p>
          <a:p>
            <a:pPr algn="ctr" eaLnBrk="1" fontAlgn="base" hangingPunct="1">
              <a:lnSpc>
                <a:spcPct val="90000"/>
              </a:lnSpc>
            </a:pPr>
            <a:r>
              <a:rPr lang="en-US" altLang="zh-CN" sz="2400" b="1" strike="noStrike" noProof="1" dirty="0"/>
              <a:t>Professional courses</a:t>
            </a:r>
            <a:endParaRPr lang="en-US" altLang="zh-CN" sz="2400" b="1" strike="noStrike" noProof="1" dirty="0"/>
          </a:p>
          <a:p>
            <a:pPr algn="ctr" eaLnBrk="1" fontAlgn="base" hangingPunct="1">
              <a:lnSpc>
                <a:spcPct val="90000"/>
              </a:lnSpc>
            </a:pPr>
            <a:r>
              <a:rPr lang="en-US" altLang="zh-CN" sz="2400" b="1" strike="noStrike" noProof="1" dirty="0"/>
              <a:t>Professional basic courses</a:t>
            </a:r>
            <a:endParaRPr lang="en-US" altLang="zh-CN" sz="2400" b="1" strike="noStrike" noProof="1" dirty="0"/>
          </a:p>
          <a:p>
            <a:pPr algn="ctr" eaLnBrk="1" fontAlgn="base" hangingPunct="1">
              <a:lnSpc>
                <a:spcPct val="90000"/>
              </a:lnSpc>
            </a:pPr>
            <a:r>
              <a:rPr lang="en-US" altLang="zh-CN" sz="2400" b="1" strike="noStrike" noProof="1" dirty="0">
                <a:sym typeface="+mn-ea"/>
              </a:rPr>
              <a:t>General courses</a:t>
            </a:r>
            <a:endParaRPr lang="en-US" altLang="zh-CN" sz="2400" b="1" strike="noStrike" noProof="1" dirty="0"/>
          </a:p>
          <a:p>
            <a:pPr algn="ctr" eaLnBrk="1" fontAlgn="base" hangingPunct="1">
              <a:lnSpc>
                <a:spcPct val="90000"/>
              </a:lnSpc>
            </a:pPr>
            <a:r>
              <a:rPr lang="en-US" altLang="zh-CN" sz="2400" b="1" strike="noStrike" noProof="1" dirty="0">
                <a:sym typeface="+mn-ea"/>
              </a:rPr>
              <a:t>(common required courses)</a:t>
            </a:r>
            <a:endParaRPr lang="en-US" altLang="zh-CN" sz="2400" b="1" strike="noStrike" noProof="1" dirty="0"/>
          </a:p>
          <a:p>
            <a:pPr algn="ctr" eaLnBrk="1" fontAlgn="base" hangingPunct="1">
              <a:lnSpc>
                <a:spcPct val="90000"/>
              </a:lnSpc>
            </a:pPr>
            <a:endParaRPr lang="en-US" altLang="zh-CN" sz="2400" b="1" strike="noStrike" noProof="1" dirty="0"/>
          </a:p>
          <a:p>
            <a:pPr algn="ctr" eaLnBrk="1" fontAlgn="base" hangingPunct="1">
              <a:lnSpc>
                <a:spcPct val="90000"/>
              </a:lnSpc>
            </a:pPr>
            <a:endParaRPr lang="en-US" altLang="zh-CN" sz="2400" b="1" strike="noStrike" noProof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77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277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2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27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2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27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7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27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27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771" grpId="0" build="p"/>
      <p:bldP spid="32771" grpI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文字占位符 1"/>
          <p:cNvSpPr>
            <a:spLocks noGrp="1"/>
          </p:cNvSpPr>
          <p:nvPr>
            <p:ph type="body" orient="vert" idx="1"/>
          </p:nvPr>
        </p:nvSpPr>
        <p:spPr>
          <a:xfrm>
            <a:off x="527381" y="1556793"/>
            <a:ext cx="10972800" cy="4352925"/>
          </a:xfrm>
        </p:spPr>
        <p:txBody>
          <a:bodyPr>
            <a:normAutofit/>
          </a:bodyPr>
          <a:lstStyle/>
          <a:p>
            <a:r>
              <a:rPr lang="en-US" altLang="zh-CN" sz="3600" b="1" dirty="0" smtClean="0">
                <a:solidFill>
                  <a:srgbClr val="2950B2"/>
                </a:solidFill>
              </a:rPr>
              <a:t>5.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有大量专用词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smtClean="0">
                <a:solidFill>
                  <a:srgbClr val="2950B2"/>
                </a:solidFill>
              </a:rPr>
              <a:t>derma [ˈ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dɜːmə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皮肤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err="1" smtClean="0">
                <a:solidFill>
                  <a:srgbClr val="2950B2"/>
                </a:solidFill>
              </a:rPr>
              <a:t>gynec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 ['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ɡaɪnek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[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医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女性，雌性</a:t>
            </a:r>
            <a:endParaRPr lang="en-US" altLang="zh-CN" sz="3600" b="1" dirty="0" smtClean="0">
              <a:solidFill>
                <a:srgbClr val="2950B2"/>
              </a:solidFill>
            </a:endParaRPr>
          </a:p>
          <a:p>
            <a:r>
              <a:rPr lang="en-US" altLang="zh-CN" sz="3600" b="1" dirty="0" err="1" smtClean="0">
                <a:solidFill>
                  <a:srgbClr val="2950B2"/>
                </a:solidFill>
              </a:rPr>
              <a:t>pedia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 ['</a:t>
            </a:r>
            <a:r>
              <a:rPr lang="en-US" altLang="zh-CN" sz="3600" b="1" dirty="0" err="1" smtClean="0">
                <a:solidFill>
                  <a:srgbClr val="2950B2"/>
                </a:solidFill>
              </a:rPr>
              <a:t>pedɪə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 [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医</a:t>
            </a:r>
            <a:r>
              <a:rPr lang="en-US" altLang="zh-CN" sz="3600" b="1" dirty="0" smtClean="0">
                <a:solidFill>
                  <a:srgbClr val="2950B2"/>
                </a:solidFill>
              </a:rPr>
              <a:t>]</a:t>
            </a:r>
            <a:r>
              <a:rPr lang="zh-CN" altLang="en-US" sz="3600" b="1" dirty="0" smtClean="0">
                <a:solidFill>
                  <a:srgbClr val="2950B2"/>
                </a:solidFill>
              </a:rPr>
              <a:t>儿童</a:t>
            </a:r>
            <a:endParaRPr lang="zh-CN" altLang="en-US" sz="3600" b="1" dirty="0">
              <a:solidFill>
                <a:srgbClr val="2950B2"/>
              </a:solidFill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676434" y="170263"/>
            <a:ext cx="9715568" cy="785810"/>
          </a:xfrm>
        </p:spPr>
        <p:txBody>
          <a:bodyPr>
            <a:normAutofit/>
          </a:bodyPr>
          <a:lstStyle/>
          <a:p>
            <a:r>
              <a:rPr lang="zh-CN" altLang="en-US" sz="3600" dirty="0" smtClean="0">
                <a:solidFill>
                  <a:srgbClr val="C00000"/>
                </a:solidFill>
                <a:latin typeface="+mn-lt"/>
              </a:rPr>
              <a:t>医护英语词汇的五个特点</a:t>
            </a:r>
            <a:endParaRPr lang="zh-CN" altLang="en-US" sz="360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96407" y="2039551"/>
            <a:ext cx="24002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solidFill>
                  <a:srgbClr val="7030A0"/>
                </a:solidFill>
                <a:ea typeface="华文新魏" panose="02010800040101010101" pitchFamily="2" charset="-122"/>
              </a:rPr>
              <a:t>(skin)</a:t>
            </a:r>
            <a:endParaRPr lang="zh-CN" altLang="en-US" sz="3600" b="1" dirty="0" smtClean="0">
              <a:solidFill>
                <a:srgbClr val="7030A0"/>
              </a:solidFill>
              <a:ea typeface="华文新魏" panose="02010800040101010101" pitchFamily="2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398229" y="2690260"/>
            <a:ext cx="2592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solidFill>
                  <a:srgbClr val="7030A0"/>
                </a:solidFill>
                <a:ea typeface="华文新魏" panose="02010800040101010101" pitchFamily="2" charset="-122"/>
              </a:rPr>
              <a:t>(female)</a:t>
            </a:r>
            <a:endParaRPr lang="zh-CN" altLang="en-US" sz="3600" b="1" dirty="0" smtClean="0">
              <a:solidFill>
                <a:srgbClr val="7030A0"/>
              </a:solidFill>
              <a:ea typeface="华文新魏" panose="02010800040101010101" pitchFamily="2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918043" y="3382348"/>
            <a:ext cx="25922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3600" b="1" dirty="0" smtClean="0">
                <a:solidFill>
                  <a:srgbClr val="7030A0"/>
                </a:solidFill>
                <a:ea typeface="华文新魏" panose="02010800040101010101" pitchFamily="2" charset="-122"/>
              </a:rPr>
              <a:t>(child)</a:t>
            </a:r>
            <a:endParaRPr lang="zh-CN" altLang="en-US" sz="3600" b="1" dirty="0" smtClean="0">
              <a:solidFill>
                <a:srgbClr val="7030A0"/>
              </a:solidFill>
              <a:ea typeface="华文新魏" panose="02010800040101010101" pitchFamily="2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94209" name="图片 1" descr="C:\Users\asus\AppData\Roaming\Tencent\Users\125366404\QQ\WinTemp\RichOle\R0CA(7DDBBPA5`MD$JWOFB8.png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524000" y="0"/>
            <a:ext cx="9144000" cy="51562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random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问卷调查</a:t>
            </a:r>
            <a:endParaRPr lang="zh-CN" altLang="en-US"/>
          </a:p>
        </p:txBody>
      </p:sp>
      <p:pic>
        <p:nvPicPr>
          <p:cNvPr id="4" name="图片 3" descr="qrcode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03300" y="1522730"/>
            <a:ext cx="4197985" cy="4197985"/>
          </a:xfrm>
          <a:prstGeom prst="rect">
            <a:avLst/>
          </a:prstGeom>
        </p:spPr>
      </p:pic>
      <p:pic>
        <p:nvPicPr>
          <p:cNvPr id="5" name="图片 4" descr="问卷星二维码海报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050" y="0"/>
            <a:ext cx="4109085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ṥ1ïḋ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ṩḷïḓe" hidden="1"/>
          <p:cNvGraphicFramePr>
            <a:graphicFrameLocks noChangeAspect="1"/>
          </p:cNvGraphicFramePr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think-cell Slide" r:id="rId1" imgW="9525" imgH="9525" progId="TCLayout.ActiveDocument.1">
                  <p:embed/>
                </p:oleObj>
              </mc:Choice>
              <mc:Fallback>
                <p:oleObj name="think-cell Slide" r:id="rId1" imgW="9525" imgH="9525" progId="TCLayout.ActiveDocument.1">
                  <p:embed/>
                  <p:pic>
                    <p:nvPicPr>
                      <p:cNvPr id="0" name="ïšľiḍê" hidden="1"/>
                      <p:cNvPicPr/>
                      <p:nvPr/>
                    </p:nvPicPr>
                    <p:blipFill>
                      <a:blip r:embed="rId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śḻíḋe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isľíďe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8000" i="1" dirty="0"/>
              <a:t>Thanks</a:t>
            </a:r>
            <a:br>
              <a:rPr lang="en-US" altLang="zh-CN" sz="3600" i="1" dirty="0"/>
            </a:br>
            <a:endParaRPr lang="zh-CN" altLang="en-US" sz="3600" i="1" dirty="0"/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289" y="-313689"/>
            <a:ext cx="10850563" cy="1028699"/>
          </a:xfrm>
        </p:spPr>
        <p:txBody>
          <a:bodyPr/>
          <a:p>
            <a:r>
              <a:rPr lang="zh-CN" altLang="en-US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遗传复制（Genetic Copy)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325120" y="1130300"/>
            <a:ext cx="11406505" cy="5006975"/>
          </a:xfrm>
        </p:spPr>
        <p:txBody>
          <a:bodyPr>
            <a:noAutofit/>
          </a:bodyPr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True or False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1.Cloning a dog is much more difficult than a cat.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2. C-c has exactly the same genes as Rainbow, and she looks exactly like her.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3. American scientists in the state of Texas have produced a genetic copy of a ____ for the first time.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A) dog</a:t>
            </a: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B) rabbit</a:t>
            </a: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C) sheep</a:t>
            </a: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D) cat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4. The cloned baby cat "c-c" was born in _____.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A) September</a:t>
            </a: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B) October</a:t>
            </a: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C) November</a:t>
            </a:r>
            <a:r>
              <a:rPr lang="en-US" altLang="zh-CN" sz="28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800">
                <a:latin typeface="Arial" panose="020B0604020202020204" pitchFamily="34" charset="0"/>
                <a:cs typeface="Arial" panose="020B0604020202020204" pitchFamily="34" charset="0"/>
              </a:rPr>
              <a:t>D) December</a:t>
            </a:r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289" y="-313689"/>
            <a:ext cx="10850563" cy="1028699"/>
          </a:xfrm>
        </p:spPr>
        <p:txBody>
          <a:bodyPr/>
          <a:p>
            <a:r>
              <a:rPr lang="zh-CN" altLang="en-US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遗传复制（Genetic Copy)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325120" y="1130300"/>
            <a:ext cx="11406505" cy="5006975"/>
          </a:xfrm>
        </p:spPr>
        <p:txBody>
          <a:bodyPr>
            <a:noAutofit/>
          </a:bodyPr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rue or False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1.Cloning a dog is much more difficult than a cat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2. C-c has exactly the same genes as Rainbow, and she looks exactly like her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3. American scientists in the state of Texas have produced a genetic copy of a ____ for the first time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A) dog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B) rabbit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C) sheep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D) cat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4. The cloned baby cat "c-c" was born in _____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A) September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B) October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C) November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D) December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" name="文本框 3"/>
          <p:cNvSpPr txBox="1"/>
          <p:nvPr/>
        </p:nvSpPr>
        <p:spPr>
          <a:xfrm>
            <a:off x="3714750" y="1890395"/>
            <a:ext cx="56451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600">
                <a:solidFill>
                  <a:srgbClr val="FF0000"/>
                </a:solidFill>
              </a:rPr>
              <a:t>T</a:t>
            </a:r>
            <a:endParaRPr lang="en-US" altLang="zh-CN" sz="3600">
              <a:solidFill>
                <a:srgbClr val="FF0000"/>
              </a:solidFill>
            </a:endParaRPr>
          </a:p>
        </p:txBody>
      </p:sp>
      <p:sp>
        <p:nvSpPr>
          <p:cNvPr id="6" name="文本框 5"/>
          <p:cNvSpPr txBox="1"/>
          <p:nvPr>
            <p:custDataLst>
              <p:tags r:id="rId1"/>
            </p:custDataLst>
          </p:nvPr>
        </p:nvSpPr>
        <p:spPr>
          <a:xfrm>
            <a:off x="3760470" y="2783840"/>
            <a:ext cx="56451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600">
                <a:solidFill>
                  <a:srgbClr val="FF0000"/>
                </a:solidFill>
              </a:rPr>
              <a:t>F</a:t>
            </a:r>
            <a:endParaRPr lang="en-US" altLang="zh-CN" sz="3600">
              <a:solidFill>
                <a:srgbClr val="FF0000"/>
              </a:solidFill>
            </a:endParaRPr>
          </a:p>
        </p:txBody>
      </p:sp>
      <p:sp>
        <p:nvSpPr>
          <p:cNvPr id="7" name="文本框 6"/>
          <p:cNvSpPr txBox="1"/>
          <p:nvPr>
            <p:custDataLst>
              <p:tags r:id="rId2"/>
            </p:custDataLst>
          </p:nvPr>
        </p:nvSpPr>
        <p:spPr>
          <a:xfrm>
            <a:off x="3841750" y="4394835"/>
            <a:ext cx="56451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600">
                <a:solidFill>
                  <a:srgbClr val="FF0000"/>
                </a:solidFill>
              </a:rPr>
              <a:t>D</a:t>
            </a:r>
            <a:endParaRPr lang="en-US" altLang="zh-CN" sz="3600">
              <a:solidFill>
                <a:srgbClr val="FF0000"/>
              </a:solidFill>
            </a:endParaRPr>
          </a:p>
        </p:txBody>
      </p:sp>
      <p:sp>
        <p:nvSpPr>
          <p:cNvPr id="8" name="文本框 7"/>
          <p:cNvSpPr txBox="1"/>
          <p:nvPr>
            <p:custDataLst>
              <p:tags r:id="rId3"/>
            </p:custDataLst>
          </p:nvPr>
        </p:nvSpPr>
        <p:spPr>
          <a:xfrm>
            <a:off x="3841750" y="5801995"/>
            <a:ext cx="56451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r>
              <a:rPr lang="en-US" altLang="zh-CN" sz="3600">
                <a:solidFill>
                  <a:srgbClr val="FF0000"/>
                </a:solidFill>
              </a:rPr>
              <a:t>D</a:t>
            </a:r>
            <a:endParaRPr lang="en-US" altLang="zh-CN" sz="360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" grpId="1" build="p"/>
      <p:bldP spid="4" grpId="0"/>
      <p:bldP spid="4" grpId="1"/>
      <p:bldP spid="6" grpId="0"/>
      <p:bldP spid="6" grpId="1"/>
      <p:bldP spid="7" grpId="0"/>
      <p:bldP spid="7" grpId="1"/>
      <p:bldP spid="8" grpId="0"/>
      <p:bldP spid="8" grpId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69289" y="-313689"/>
            <a:ext cx="10850563" cy="1028699"/>
          </a:xfrm>
        </p:spPr>
        <p:txBody>
          <a:bodyPr/>
          <a:p>
            <a:r>
              <a:rPr lang="zh-CN" altLang="en-US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遗传复制（Genetic Copy)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325120" y="1130300"/>
            <a:ext cx="11406505" cy="5006975"/>
          </a:xfrm>
        </p:spPr>
        <p:txBody>
          <a:bodyPr>
            <a:noAutofit/>
          </a:bodyPr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rue or False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1.Cloning a dog is much more difficult than a cat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T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2. C-c has exactly the same genes as Rainbow, and she looks exactly like her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F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3. American scientists in the state of Texas have produced a genetic copy of a ____ for the first time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A) dog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B) rabbit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C) sheep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D) cat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D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4. The cloned baby cat "c-c" was born in _____.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A) September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B) October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C) November</a:t>
            </a:r>
            <a:r>
              <a:rPr lang="en-US" altLang="zh-CN" sz="230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D) December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zh-CN" altLang="en-US" sz="2300">
                <a:latin typeface="Arial" panose="020B0604020202020204" pitchFamily="34" charset="0"/>
                <a:cs typeface="Arial" panose="020B0604020202020204" pitchFamily="34" charset="0"/>
              </a:rPr>
              <a:t>The correct answer is:{D}</a:t>
            </a:r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zh-CN" altLang="en-US" sz="23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3" grpI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79873" name="标题 1"/>
          <p:cNvSpPr>
            <a:spLocks noGrp="1"/>
          </p:cNvSpPr>
          <p:nvPr>
            <p:ph type="title"/>
          </p:nvPr>
        </p:nvSpPr>
        <p:spPr>
          <a:xfrm>
            <a:off x="2093913" y="442913"/>
            <a:ext cx="8004175" cy="715962"/>
          </a:xfrm>
        </p:spPr>
        <p:txBody>
          <a:bodyPr vert="horz" wrap="square" lIns="91440" tIns="45720" rIns="91440" bIns="45720" anchor="ctr" anchorCtr="0"/>
          <a:p>
            <a:r>
              <a:rPr lang="zh-CN" altLang="en-US" sz="3600"/>
              <a:t>经济全球化</a:t>
            </a:r>
            <a:endParaRPr lang="zh-CN" altLang="en-US" sz="3600"/>
          </a:p>
        </p:txBody>
      </p:sp>
      <p:sp>
        <p:nvSpPr>
          <p:cNvPr id="79874" name="内容占位符 2"/>
          <p:cNvSpPr>
            <a:spLocks noGrp="1"/>
          </p:cNvSpPr>
          <p:nvPr>
            <p:ph idx="1"/>
          </p:nvPr>
        </p:nvSpPr>
        <p:spPr>
          <a:xfrm>
            <a:off x="849630" y="1412875"/>
            <a:ext cx="6470015" cy="3219450"/>
          </a:xfrm>
        </p:spPr>
        <p:txBody>
          <a:bodyPr anchor="t" anchorCtr="0">
            <a:normAutofit fontScale="90000"/>
          </a:bodyPr>
          <a:p>
            <a:pPr fontAlgn="auto">
              <a:lnSpc>
                <a:spcPct val="150000"/>
              </a:lnSpc>
            </a:pPr>
            <a:r>
              <a:rPr lang="zh-CN" altLang="en-US" sz="3555" b="1"/>
              <a:t>截至今年4月11日，广东共有常住外国人11.7万人，其中亚洲6.08万人，美洲2.89万人，欧洲1.57万人，非洲6700多人，大洋洲4700多人。</a:t>
            </a:r>
            <a:endParaRPr lang="zh-CN" altLang="en-US" sz="3555" b="1"/>
          </a:p>
          <a:p>
            <a:pPr fontAlgn="auto">
              <a:lnSpc>
                <a:spcPct val="150000"/>
              </a:lnSpc>
            </a:pPr>
            <a:endParaRPr lang="zh-CN" altLang="en-US" b="1"/>
          </a:p>
          <a:p>
            <a:endParaRPr lang="zh-CN" altLang="en-US" b="1"/>
          </a:p>
        </p:txBody>
      </p:sp>
      <p:sp>
        <p:nvSpPr>
          <p:cNvPr id="12" name="文本框 11"/>
          <p:cNvSpPr txBox="1"/>
          <p:nvPr/>
        </p:nvSpPr>
        <p:spPr>
          <a:xfrm>
            <a:off x="8826499" y="5169533"/>
            <a:ext cx="1706880" cy="101473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marR="0" defTabSz="914400" eaLnBrk="0" hangingPunct="0">
              <a:buClrTx/>
              <a:buSzTx/>
            </a:pPr>
            <a:r>
              <a:rPr kumimoji="0" lang="zh-CN" altLang="en-US" sz="6000" kern="1200" cap="none" spc="0" normalizeH="0" baseline="0" noProof="1">
                <a:ln w="6600">
                  <a:solidFill>
                    <a:schemeClr val="accent2"/>
                  </a:solidFill>
                  <a:prstDash val="solid"/>
                </a:ln>
                <a:effectLst>
                  <a:outerShdw dist="38100" dir="2700000" algn="tl" rotWithShape="0">
                    <a:schemeClr val="accent2"/>
                  </a:outerShdw>
                </a:effectLst>
                <a:latin typeface="Verdana" panose="020B0604030504040204" pitchFamily="34" charset="0"/>
                <a:ea typeface="+mn-ea"/>
                <a:cs typeface="+mn-cs"/>
              </a:rPr>
              <a:t>国内</a:t>
            </a:r>
            <a:endParaRPr kumimoji="0" lang="zh-CN" altLang="en-US" sz="6000" kern="1200" cap="none" spc="0" normalizeH="0" baseline="0" noProof="1">
              <a:ln w="6600">
                <a:solidFill>
                  <a:schemeClr val="accent2"/>
                </a:solidFill>
                <a:prstDash val="solid"/>
              </a:ln>
              <a:effectLst>
                <a:outerShdw dist="38100" dir="2700000" algn="tl" rotWithShape="0">
                  <a:schemeClr val="accent2"/>
                </a:outerShdw>
              </a:effectLst>
              <a:latin typeface="Calibri" panose="020F050202020403020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100" name="图片 99"/>
          <p:cNvPicPr/>
          <p:nvPr/>
        </p:nvPicPr>
        <p:blipFill>
          <a:blip r:embed="rId1"/>
          <a:stretch>
            <a:fillRect/>
          </a:stretch>
        </p:blipFill>
        <p:spPr>
          <a:xfrm>
            <a:off x="7464425" y="1700530"/>
            <a:ext cx="4068445" cy="286194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transition>
    <p:fade thruBlk="1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7" name="图片 6"/>
          <p:cNvPicPr/>
          <p:nvPr userDrawn="1">
            <p:custDataLst>
              <p:tags r:id="rId1"/>
            </p:custDataLst>
          </p:nvPr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0"/>
            <a:ext cx="540068" cy="936658"/>
          </a:xfrm>
          <a:prstGeom prst="rect">
            <a:avLst/>
          </a:prstGeom>
        </p:spPr>
      </p:pic>
      <p:pic>
        <p:nvPicPr>
          <p:cNvPr id="6" name="图片 5"/>
          <p:cNvPicPr/>
          <p:nvPr userDrawn="1">
            <p:custDataLst>
              <p:tags r:id="rId4"/>
            </p:custDataLst>
          </p:nvPr>
        </p:nvPicPr>
        <p:blipFill>
          <a:blip r:embed="rId5" r:link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7932" y="0"/>
            <a:ext cx="540068" cy="563386"/>
          </a:xfrm>
          <a:prstGeom prst="rect">
            <a:avLst/>
          </a:prstGeom>
        </p:spPr>
      </p:pic>
      <p:pic>
        <p:nvPicPr>
          <p:cNvPr id="80897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4825" y="1196975"/>
            <a:ext cx="7597775" cy="51196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" name="文本框 1"/>
          <p:cNvSpPr txBox="1"/>
          <p:nvPr/>
        </p:nvSpPr>
        <p:spPr>
          <a:xfrm>
            <a:off x="2545080" y="2225675"/>
            <a:ext cx="6717030" cy="2676525"/>
          </a:xfrm>
          <a:prstGeom prst="rect">
            <a:avLst/>
          </a:prstGeom>
          <a:solidFill>
            <a:srgbClr val="FFFF00"/>
          </a:solidFill>
          <a:ln w="9525">
            <a:noFill/>
          </a:ln>
        </p:spPr>
        <p:txBody>
          <a:bodyPr wrap="square" anchor="t" anchorCtr="0">
            <a:spAutoFit/>
          </a:bodyPr>
          <a:p>
            <a:pPr marL="342900" indent="-342900" eaLnBrk="0" hangingPunct="0">
              <a:buFont typeface="Wingdings" panose="05000000000000000000" charset="0"/>
              <a:buBlip>
                <a:blip r:embed="rId8"/>
              </a:buBlip>
            </a:pPr>
            <a:r>
              <a:rPr lang="zh-CN" altLang="en-US" sz="280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新的医学文献</a:t>
            </a:r>
            <a:endParaRPr lang="zh-CN" altLang="en-US" sz="280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eaLnBrk="0" hangingPunct="0">
              <a:buFont typeface="Wingdings" panose="05000000000000000000" charset="0"/>
              <a:buBlip>
                <a:blip r:embed="rId8"/>
              </a:buBlip>
            </a:pPr>
            <a:r>
              <a:rPr lang="zh-CN" altLang="en-US" sz="280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院大部分仪器设施的菜单</a:t>
            </a:r>
            <a:endParaRPr lang="zh-CN" altLang="en-US" sz="280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eaLnBrk="0" hangingPunct="0">
              <a:buFont typeface="Wingdings" panose="05000000000000000000" charset="0"/>
              <a:buBlip>
                <a:blip r:embed="rId8"/>
              </a:buBlip>
            </a:pPr>
            <a:r>
              <a:rPr lang="zh-CN" altLang="en-US" sz="280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英文参考文献</a:t>
            </a:r>
            <a:endParaRPr lang="zh-CN" altLang="en-US" sz="280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eaLnBrk="0" hangingPunct="0">
              <a:buFont typeface="Wingdings" panose="05000000000000000000" charset="0"/>
              <a:buBlip>
                <a:blip r:embed="rId8"/>
              </a:buBlip>
            </a:pPr>
            <a:r>
              <a:rPr lang="zh-CN" altLang="en-US" sz="280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论文要写英文关键词和摘要</a:t>
            </a:r>
            <a:endParaRPr lang="zh-CN" altLang="en-US" sz="280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eaLnBrk="0" hangingPunct="0">
              <a:buFont typeface="Wingdings" panose="05000000000000000000" charset="0"/>
              <a:buBlip>
                <a:blip r:embed="rId8"/>
              </a:buBlip>
            </a:pPr>
            <a:r>
              <a:rPr lang="zh-CN" altLang="en-US" sz="280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很多病名、药名的简称是英文缩写</a:t>
            </a:r>
            <a:endParaRPr lang="zh-CN" altLang="en-US" sz="280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342900" indent="-342900" eaLnBrk="0" hangingPunct="0">
              <a:buFont typeface="Wingdings" panose="05000000000000000000" charset="0"/>
              <a:buBlip>
                <a:blip r:embed="rId8"/>
              </a:buBlip>
            </a:pPr>
            <a:r>
              <a:rPr lang="zh-CN" altLang="en-US" sz="2800">
                <a:solidFill>
                  <a:srgbClr val="00206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学生最需要的就是阅读英语</a:t>
            </a:r>
            <a:endParaRPr lang="zh-CN" altLang="en-US" sz="2800">
              <a:solidFill>
                <a:srgbClr val="00206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0899" name="文本框 2"/>
          <p:cNvSpPr txBox="1"/>
          <p:nvPr/>
        </p:nvSpPr>
        <p:spPr>
          <a:xfrm>
            <a:off x="2162175" y="344488"/>
            <a:ext cx="2011680" cy="645160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p>
            <a:pPr eaLnBrk="0" hangingPunct="0"/>
            <a:r>
              <a:rPr lang="zh-CN" altLang="en-US" sz="36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业生涯</a:t>
            </a:r>
            <a:endParaRPr lang="zh-CN" altLang="en-US" sz="360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custDataLst>
      <p:tags r:id="rId9"/>
    </p:custDataLst>
  </p:cSld>
  <p:clrMapOvr>
    <a:masterClrMapping/>
  </p:clrMapOvr>
  <p:transition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 build="p"/>
      <p:bldP spid="2" grpId="1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zh-CN" altLang="en-US"/>
              <a:t>教学内容</a:t>
            </a:r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pic>
        <p:nvPicPr>
          <p:cNvPr id="5" name="图片 4" descr="0F{R~FWPBH~`7B3EPF[`HCQ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15670" y="1479550"/>
            <a:ext cx="3472815" cy="4207510"/>
          </a:xfrm>
          <a:prstGeom prst="rect">
            <a:avLst/>
          </a:prstGeom>
        </p:spPr>
      </p:pic>
      <p:sp>
        <p:nvSpPr>
          <p:cNvPr id="6" name="文本框 5"/>
          <p:cNvSpPr txBox="1"/>
          <p:nvPr/>
        </p:nvSpPr>
        <p:spPr>
          <a:xfrm>
            <a:off x="4690110" y="3121660"/>
            <a:ext cx="6769735" cy="3415030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fontAlgn="auto">
              <a:lnSpc>
                <a:spcPct val="150000"/>
              </a:lnSpc>
            </a:pPr>
            <a:r>
              <a:rPr lang="zh-CN" altLang="en-US" sz="2400"/>
              <a:t>本书为《急救护理人员》分册，引进英国 Express Publishing 出版社的 Career Paths 系列教材改编而成，围绕急救专业基础知识和急救护理技术展开。本书贴近实际，具有内容系统、病例真实可信和注重实践的特点，适合临床医学、护理等相关专业的学生使用。</a:t>
            </a:r>
            <a:endParaRPr lang="zh-CN" altLang="en-US" sz="2400"/>
          </a:p>
        </p:txBody>
      </p:sp>
      <p:sp>
        <p:nvSpPr>
          <p:cNvPr id="7" name="文本框 6"/>
          <p:cNvSpPr txBox="1"/>
          <p:nvPr/>
        </p:nvSpPr>
        <p:spPr>
          <a:xfrm>
            <a:off x="4690110" y="1475740"/>
            <a:ext cx="7347585" cy="1198880"/>
          </a:xfrm>
          <a:prstGeom prst="rect">
            <a:avLst/>
          </a:prstGeom>
          <a:noFill/>
        </p:spPr>
        <p:txBody>
          <a:bodyPr wrap="none" rtlCol="0">
            <a:spAutoFit/>
          </a:bodyPr>
          <a:p>
            <a:pPr algn="l" fontAlgn="auto">
              <a:lnSpc>
                <a:spcPct val="150000"/>
              </a:lnSpc>
            </a:pPr>
            <a:r>
              <a:rPr lang="zh-CN" altLang="en-US" sz="2400"/>
              <a:t>通用英语（English for General Purpose，EGP）</a:t>
            </a:r>
            <a:endParaRPr lang="zh-CN" altLang="en-US" sz="2400"/>
          </a:p>
          <a:p>
            <a:pPr algn="l" fontAlgn="auto">
              <a:lnSpc>
                <a:spcPct val="150000"/>
              </a:lnSpc>
            </a:pPr>
            <a:r>
              <a:rPr lang="zh-CN" altLang="en-US" sz="2400"/>
              <a:t>专门用途英语（English for Specific Purpose，ESP）</a:t>
            </a:r>
            <a:endParaRPr lang="zh-CN" altLang="en-US" sz="24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" grpId="1"/>
      <p:bldP spid="6" grpId="0"/>
      <p:bldP spid="6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018334" y="3591493"/>
            <a:ext cx="5419185" cy="895350"/>
          </a:xfrm>
        </p:spPr>
        <p:txBody>
          <a:bodyPr/>
          <a:p>
            <a:r>
              <a:rPr lang="zh-CN" altLang="en-US" sz="3600"/>
              <a:t>医学英语词汇基础知识</a:t>
            </a:r>
            <a:endParaRPr lang="zh-CN" altLang="en-US" sz="3600"/>
          </a:p>
        </p:txBody>
      </p:sp>
      <p:pic>
        <p:nvPicPr>
          <p:cNvPr id="105" name="图片 104"/>
          <p:cNvPicPr/>
          <p:nvPr/>
        </p:nvPicPr>
        <p:blipFill>
          <a:blip r:embed="rId1"/>
          <a:stretch>
            <a:fillRect/>
          </a:stretch>
        </p:blipFill>
        <p:spPr>
          <a:xfrm>
            <a:off x="7911465" y="3183890"/>
            <a:ext cx="2847975" cy="195326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/>
              <a:t>Medical terms </a:t>
            </a:r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>
          <a:xfrm>
            <a:off x="669925" y="1130300"/>
            <a:ext cx="4344670" cy="5006975"/>
          </a:xfrm>
        </p:spPr>
        <p:txBody>
          <a:bodyPr/>
          <a:p>
            <a:pPr fontAlgn="auto">
              <a:lnSpc>
                <a:spcPct val="200000"/>
              </a:lnSpc>
            </a:pPr>
            <a:r>
              <a:rPr lang="en-US" altLang="zh-CN" sz="4000"/>
              <a:t>tuberculosis  </a:t>
            </a:r>
            <a:endParaRPr lang="en-US" altLang="zh-CN" sz="4000"/>
          </a:p>
          <a:p>
            <a:pPr fontAlgn="auto">
              <a:lnSpc>
                <a:spcPct val="200000"/>
              </a:lnSpc>
            </a:pPr>
            <a:r>
              <a:rPr lang="en-US" altLang="zh-CN" sz="4000"/>
              <a:t>ophthalmology</a:t>
            </a:r>
            <a:endParaRPr lang="en-US" altLang="zh-CN" sz="4000"/>
          </a:p>
          <a:p>
            <a:pPr fontAlgn="auto">
              <a:lnSpc>
                <a:spcPct val="200000"/>
              </a:lnSpc>
            </a:pPr>
            <a:r>
              <a:rPr lang="en-US" altLang="zh-CN" sz="4000"/>
              <a:t>paediatrics</a:t>
            </a:r>
            <a:endParaRPr lang="en-US" altLang="zh-CN" sz="400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sp>
        <p:nvSpPr>
          <p:cNvPr id="4" name="内容占位符 2"/>
          <p:cNvSpPr>
            <a:spLocks noGrp="1"/>
          </p:cNvSpPr>
          <p:nvPr/>
        </p:nvSpPr>
        <p:spPr>
          <a:xfrm>
            <a:off x="5351780" y="1028700"/>
            <a:ext cx="4344670" cy="5006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200000"/>
              </a:lnSpc>
            </a:pPr>
            <a:r>
              <a:rPr lang="zh-CN" altLang="en-US" sz="4000"/>
              <a:t>结核病</a:t>
            </a:r>
            <a:r>
              <a:rPr lang="en-US" altLang="zh-CN" sz="4000"/>
              <a:t> </a:t>
            </a:r>
            <a:endParaRPr lang="en-US" altLang="zh-CN" sz="4000"/>
          </a:p>
          <a:p>
            <a:pPr fontAlgn="auto">
              <a:lnSpc>
                <a:spcPct val="200000"/>
              </a:lnSpc>
            </a:pPr>
            <a:r>
              <a:rPr lang="zh-CN" altLang="en-US" sz="4000"/>
              <a:t>眼科</a:t>
            </a:r>
            <a:endParaRPr lang="zh-CN" altLang="en-US" sz="4000"/>
          </a:p>
          <a:p>
            <a:pPr fontAlgn="auto">
              <a:lnSpc>
                <a:spcPct val="200000"/>
              </a:lnSpc>
            </a:pPr>
            <a:r>
              <a:rPr lang="zh-CN" altLang="en-US" sz="4000"/>
              <a:t>儿科</a:t>
            </a:r>
            <a:endParaRPr lang="zh-CN" altLang="en-US" sz="40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4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en-US" altLang="zh-CN" sz="3600"/>
              <a:t>Origins of Medical Language</a:t>
            </a:r>
            <a:endParaRPr lang="en-US" altLang="zh-CN" sz="3600"/>
          </a:p>
        </p:txBody>
      </p:sp>
      <p:sp>
        <p:nvSpPr>
          <p:cNvPr id="3" name="内容占位符 2"/>
          <p:cNvSpPr>
            <a:spLocks noGrp="1"/>
          </p:cNvSpPr>
          <p:nvPr>
            <p:ph sz="quarter" idx="13"/>
          </p:nvPr>
        </p:nvSpPr>
        <p:spPr/>
        <p:txBody>
          <a:bodyPr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  <p:grpSp>
        <p:nvGrpSpPr>
          <p:cNvPr id="28" name="组合 27"/>
          <p:cNvGrpSpPr/>
          <p:nvPr>
            <p:custDataLst>
              <p:tags r:id="rId1"/>
            </p:custDataLst>
          </p:nvPr>
        </p:nvGrpSpPr>
        <p:grpSpPr>
          <a:xfrm>
            <a:off x="1983941" y="1540511"/>
            <a:ext cx="3404512" cy="2243966"/>
            <a:chOff x="1304924" y="3171825"/>
            <a:chExt cx="2647951" cy="1745305"/>
          </a:xfrm>
        </p:grpSpPr>
        <p:cxnSp>
          <p:nvCxnSpPr>
            <p:cNvPr id="29" name="直接连接符 28"/>
            <p:cNvCxnSpPr/>
            <p:nvPr>
              <p:custDataLst>
                <p:tags r:id="rId2"/>
              </p:custDataLst>
            </p:nvPr>
          </p:nvCxnSpPr>
          <p:spPr>
            <a:xfrm>
              <a:off x="1390650" y="4791075"/>
              <a:ext cx="1866900" cy="0"/>
            </a:xfrm>
            <a:prstGeom prst="line">
              <a:avLst/>
            </a:prstGeom>
            <a:ln>
              <a:solidFill>
                <a:srgbClr val="52C2A5"/>
              </a:solidFill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cxnSp>
          <p:nvCxnSpPr>
            <p:cNvPr id="30" name="直接连接符 29"/>
            <p:cNvCxnSpPr/>
            <p:nvPr>
              <p:custDataLst>
                <p:tags r:id="rId3"/>
              </p:custDataLst>
            </p:nvPr>
          </p:nvCxnSpPr>
          <p:spPr>
            <a:xfrm>
              <a:off x="1304924" y="4907605"/>
              <a:ext cx="2505076" cy="0"/>
            </a:xfrm>
            <a:prstGeom prst="line">
              <a:avLst/>
            </a:prstGeom>
            <a:ln>
              <a:solidFill>
                <a:srgbClr val="52C2A5"/>
              </a:solidFill>
              <a:tailEnd type="oval"/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sp>
          <p:nvSpPr>
            <p:cNvPr id="31" name="任意多边形 30"/>
            <p:cNvSpPr/>
            <p:nvPr>
              <p:custDataLst>
                <p:tags r:id="rId4"/>
              </p:custDataLst>
            </p:nvPr>
          </p:nvSpPr>
          <p:spPr>
            <a:xfrm>
              <a:off x="1304924" y="3171825"/>
              <a:ext cx="2647951" cy="1745305"/>
            </a:xfrm>
            <a:custGeom>
              <a:avLst/>
              <a:gdLst>
                <a:gd name="connsiteX0" fmla="*/ 1 w 2647951"/>
                <a:gd name="connsiteY0" fmla="*/ 0 h 1743075"/>
                <a:gd name="connsiteX1" fmla="*/ 2647951 w 2647951"/>
                <a:gd name="connsiteY1" fmla="*/ 0 h 1743075"/>
                <a:gd name="connsiteX2" fmla="*/ 2647951 w 2647951"/>
                <a:gd name="connsiteY2" fmla="*/ 1266825 h 1743075"/>
                <a:gd name="connsiteX3" fmla="*/ 297057 w 2647951"/>
                <a:gd name="connsiteY3" fmla="*/ 1266825 h 1743075"/>
                <a:gd name="connsiteX4" fmla="*/ 233437 w 2647951"/>
                <a:gd name="connsiteY4" fmla="*/ 1329240 h 1743075"/>
                <a:gd name="connsiteX5" fmla="*/ 0 w 2647951"/>
                <a:gd name="connsiteY5" fmla="*/ 1743075 h 1743075"/>
                <a:gd name="connsiteX6" fmla="*/ 0 w 2647951"/>
                <a:gd name="connsiteY6" fmla="*/ 1114425 h 1743075"/>
                <a:gd name="connsiteX7" fmla="*/ 1 w 2647951"/>
                <a:gd name="connsiteY7" fmla="*/ 1114425 h 1743075"/>
                <a:gd name="connsiteX0-1" fmla="*/ 1 w 2647951"/>
                <a:gd name="connsiteY0-2" fmla="*/ 0 h 1743075"/>
                <a:gd name="connsiteX1-3" fmla="*/ 2647951 w 2647951"/>
                <a:gd name="connsiteY1-4" fmla="*/ 0 h 1743075"/>
                <a:gd name="connsiteX2-5" fmla="*/ 2647951 w 2647951"/>
                <a:gd name="connsiteY2-6" fmla="*/ 1266825 h 1743075"/>
                <a:gd name="connsiteX3-7" fmla="*/ 297057 w 2647951"/>
                <a:gd name="connsiteY3-8" fmla="*/ 1266825 h 1743075"/>
                <a:gd name="connsiteX4-9" fmla="*/ 233437 w 2647951"/>
                <a:gd name="connsiteY4-10" fmla="*/ 1329240 h 1743075"/>
                <a:gd name="connsiteX5-11" fmla="*/ 0 w 2647951"/>
                <a:gd name="connsiteY5-12" fmla="*/ 1743075 h 1743075"/>
                <a:gd name="connsiteX6-13" fmla="*/ 0 w 2647951"/>
                <a:gd name="connsiteY6-14" fmla="*/ 1114425 h 1743075"/>
                <a:gd name="connsiteX7-15" fmla="*/ 1 w 2647951"/>
                <a:gd name="connsiteY7-16" fmla="*/ 1114425 h 1743075"/>
                <a:gd name="connsiteX8" fmla="*/ 1 w 2647951"/>
                <a:gd name="connsiteY8" fmla="*/ 0 h 1743075"/>
                <a:gd name="connsiteX0-17" fmla="*/ 1 w 2647951"/>
                <a:gd name="connsiteY0-18" fmla="*/ 0 h 1743075"/>
                <a:gd name="connsiteX1-19" fmla="*/ 2647951 w 2647951"/>
                <a:gd name="connsiteY1-20" fmla="*/ 0 h 1743075"/>
                <a:gd name="connsiteX2-21" fmla="*/ 2647951 w 2647951"/>
                <a:gd name="connsiteY2-22" fmla="*/ 1266825 h 1743075"/>
                <a:gd name="connsiteX3-23" fmla="*/ 516132 w 2647951"/>
                <a:gd name="connsiteY3-24" fmla="*/ 1323975 h 1743075"/>
                <a:gd name="connsiteX4-25" fmla="*/ 233437 w 2647951"/>
                <a:gd name="connsiteY4-26" fmla="*/ 1329240 h 1743075"/>
                <a:gd name="connsiteX5-27" fmla="*/ 0 w 2647951"/>
                <a:gd name="connsiteY5-28" fmla="*/ 1743075 h 1743075"/>
                <a:gd name="connsiteX6-29" fmla="*/ 0 w 2647951"/>
                <a:gd name="connsiteY6-30" fmla="*/ 1114425 h 1743075"/>
                <a:gd name="connsiteX7-31" fmla="*/ 1 w 2647951"/>
                <a:gd name="connsiteY7-32" fmla="*/ 1114425 h 1743075"/>
                <a:gd name="connsiteX8-33" fmla="*/ 1 w 2647951"/>
                <a:gd name="connsiteY8-34" fmla="*/ 0 h 1743075"/>
                <a:gd name="connsiteX0-35" fmla="*/ 1 w 2647951"/>
                <a:gd name="connsiteY0-36" fmla="*/ 0 h 1743075"/>
                <a:gd name="connsiteX1-37" fmla="*/ 2647951 w 2647951"/>
                <a:gd name="connsiteY1-38" fmla="*/ 0 h 1743075"/>
                <a:gd name="connsiteX2-39" fmla="*/ 2647951 w 2647951"/>
                <a:gd name="connsiteY2-40" fmla="*/ 1266825 h 1743075"/>
                <a:gd name="connsiteX3-41" fmla="*/ 516132 w 2647951"/>
                <a:gd name="connsiteY3-42" fmla="*/ 1323975 h 1743075"/>
                <a:gd name="connsiteX4-43" fmla="*/ 233437 w 2647951"/>
                <a:gd name="connsiteY4-44" fmla="*/ 1329240 h 1743075"/>
                <a:gd name="connsiteX5-45" fmla="*/ 0 w 2647951"/>
                <a:gd name="connsiteY5-46" fmla="*/ 1743075 h 1743075"/>
                <a:gd name="connsiteX6-47" fmla="*/ 0 w 2647951"/>
                <a:gd name="connsiteY6-48" fmla="*/ 1114425 h 1743075"/>
                <a:gd name="connsiteX7-49" fmla="*/ 1 w 2647951"/>
                <a:gd name="connsiteY7-50" fmla="*/ 1114425 h 1743075"/>
                <a:gd name="connsiteX8-51" fmla="*/ 1 w 2647951"/>
                <a:gd name="connsiteY8-52" fmla="*/ 0 h 1743075"/>
                <a:gd name="connsiteX0-53" fmla="*/ 1 w 2647951"/>
                <a:gd name="connsiteY0-54" fmla="*/ 0 h 1745366"/>
                <a:gd name="connsiteX1-55" fmla="*/ 2647951 w 2647951"/>
                <a:gd name="connsiteY1-56" fmla="*/ 0 h 1745366"/>
                <a:gd name="connsiteX2-57" fmla="*/ 2647951 w 2647951"/>
                <a:gd name="connsiteY2-58" fmla="*/ 1266825 h 1745366"/>
                <a:gd name="connsiteX3-59" fmla="*/ 516132 w 2647951"/>
                <a:gd name="connsiteY3-60" fmla="*/ 1323975 h 1745366"/>
                <a:gd name="connsiteX4-61" fmla="*/ 0 w 2647951"/>
                <a:gd name="connsiteY4-62" fmla="*/ 1743075 h 1745366"/>
                <a:gd name="connsiteX5-63" fmla="*/ 0 w 2647951"/>
                <a:gd name="connsiteY5-64" fmla="*/ 1114425 h 1745366"/>
                <a:gd name="connsiteX6-65" fmla="*/ 1 w 2647951"/>
                <a:gd name="connsiteY6-66" fmla="*/ 1114425 h 1745366"/>
                <a:gd name="connsiteX7-67" fmla="*/ 1 w 2647951"/>
                <a:gd name="connsiteY7-68" fmla="*/ 0 h 1745366"/>
                <a:gd name="connsiteX0-69" fmla="*/ 1 w 2647951"/>
                <a:gd name="connsiteY0-70" fmla="*/ 0 h 1745305"/>
                <a:gd name="connsiteX1-71" fmla="*/ 2647951 w 2647951"/>
                <a:gd name="connsiteY1-72" fmla="*/ 0 h 1745305"/>
                <a:gd name="connsiteX2-73" fmla="*/ 2638426 w 2647951"/>
                <a:gd name="connsiteY2-74" fmla="*/ 1333500 h 1745305"/>
                <a:gd name="connsiteX3-75" fmla="*/ 516132 w 2647951"/>
                <a:gd name="connsiteY3-76" fmla="*/ 1323975 h 1745305"/>
                <a:gd name="connsiteX4-77" fmla="*/ 0 w 2647951"/>
                <a:gd name="connsiteY4-78" fmla="*/ 1743075 h 1745305"/>
                <a:gd name="connsiteX5-79" fmla="*/ 0 w 2647951"/>
                <a:gd name="connsiteY5-80" fmla="*/ 1114425 h 1745305"/>
                <a:gd name="connsiteX6-81" fmla="*/ 1 w 2647951"/>
                <a:gd name="connsiteY6-82" fmla="*/ 1114425 h 1745305"/>
                <a:gd name="connsiteX7-83" fmla="*/ 1 w 2647951"/>
                <a:gd name="connsiteY7-84" fmla="*/ 0 h 1745305"/>
              </a:gdLst>
              <a:ahLst/>
              <a:cxnLst>
                <a:cxn ang="0">
                  <a:pos x="connsiteX0-69" y="connsiteY0-70"/>
                </a:cxn>
                <a:cxn ang="0">
                  <a:pos x="connsiteX1-71" y="connsiteY1-72"/>
                </a:cxn>
                <a:cxn ang="0">
                  <a:pos x="connsiteX2-73" y="connsiteY2-74"/>
                </a:cxn>
                <a:cxn ang="0">
                  <a:pos x="connsiteX3-75" y="connsiteY3-76"/>
                </a:cxn>
                <a:cxn ang="0">
                  <a:pos x="connsiteX4-77" y="connsiteY4-78"/>
                </a:cxn>
                <a:cxn ang="0">
                  <a:pos x="connsiteX5-79" y="connsiteY5-80"/>
                </a:cxn>
                <a:cxn ang="0">
                  <a:pos x="connsiteX6-81" y="connsiteY6-82"/>
                </a:cxn>
                <a:cxn ang="0">
                  <a:pos x="connsiteX7-83" y="connsiteY7-84"/>
                </a:cxn>
              </a:cxnLst>
              <a:rect l="l" t="t" r="r" b="b"/>
              <a:pathLst>
                <a:path w="2647951" h="1745305">
                  <a:moveTo>
                    <a:pt x="1" y="0"/>
                  </a:moveTo>
                  <a:lnTo>
                    <a:pt x="2647951" y="0"/>
                  </a:lnTo>
                  <a:lnTo>
                    <a:pt x="2638426" y="1333500"/>
                  </a:lnTo>
                  <a:cubicBezTo>
                    <a:pt x="2246610" y="1544638"/>
                    <a:pt x="955870" y="1255713"/>
                    <a:pt x="516132" y="1323975"/>
                  </a:cubicBezTo>
                  <a:cubicBezTo>
                    <a:pt x="76394" y="1392237"/>
                    <a:pt x="86022" y="1778000"/>
                    <a:pt x="0" y="1743075"/>
                  </a:cubicBezTo>
                  <a:lnTo>
                    <a:pt x="0" y="1114425"/>
                  </a:lnTo>
                  <a:lnTo>
                    <a:pt x="1" y="1114425"/>
                  </a:lnTo>
                  <a:lnTo>
                    <a:pt x="1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70CFE2">
                <a:shade val="50000"/>
              </a:srgbClr>
            </a:lnRef>
            <a:fillRef idx="1">
              <a:srgbClr val="70CFE2"/>
            </a:fillRef>
            <a:effectRef idx="0">
              <a:srgbClr val="70CFE2"/>
            </a:effectRef>
            <a:fontRef idx="minor">
              <a:srgbClr val="FFFFFF"/>
            </a:fontRef>
          </p:style>
          <p:txBody>
            <a:bodyPr bIns="504000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endParaRPr lang="zh-CN" altLang="en-US" dirty="0">
                <a:solidFill>
                  <a:srgbClr val="FFFFFF"/>
                </a:solidFill>
              </a:endParaRPr>
            </a:p>
          </p:txBody>
        </p:sp>
        <p:sp>
          <p:nvSpPr>
            <p:cNvPr id="32" name="文本框 31"/>
            <p:cNvSpPr txBox="1"/>
            <p:nvPr>
              <p:custDataLst>
                <p:tags r:id="rId5"/>
              </p:custDataLst>
            </p:nvPr>
          </p:nvSpPr>
          <p:spPr>
            <a:xfrm>
              <a:off x="3295650" y="4539734"/>
              <a:ext cx="476250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r>
                <a:rPr lang="en-US" altLang="zh-CN" dirty="0"/>
                <a:t>A</a:t>
              </a:r>
              <a:endParaRPr lang="zh-CN" altLang="en-US" dirty="0"/>
            </a:p>
          </p:txBody>
        </p:sp>
      </p:grpSp>
      <p:grpSp>
        <p:nvGrpSpPr>
          <p:cNvPr id="33" name="组合 32"/>
          <p:cNvGrpSpPr/>
          <p:nvPr>
            <p:custDataLst>
              <p:tags r:id="rId6"/>
            </p:custDataLst>
          </p:nvPr>
        </p:nvGrpSpPr>
        <p:grpSpPr>
          <a:xfrm>
            <a:off x="6849268" y="1540511"/>
            <a:ext cx="3404512" cy="2243966"/>
            <a:chOff x="1304924" y="3171825"/>
            <a:chExt cx="2647951" cy="1745305"/>
          </a:xfrm>
        </p:grpSpPr>
        <p:cxnSp>
          <p:nvCxnSpPr>
            <p:cNvPr id="34" name="直接连接符 33"/>
            <p:cNvCxnSpPr/>
            <p:nvPr>
              <p:custDataLst>
                <p:tags r:id="rId7"/>
              </p:custDataLst>
            </p:nvPr>
          </p:nvCxnSpPr>
          <p:spPr>
            <a:xfrm>
              <a:off x="1390650" y="4791075"/>
              <a:ext cx="1866900" cy="0"/>
            </a:xfrm>
            <a:prstGeom prst="line">
              <a:avLst/>
            </a:prstGeom>
            <a:ln>
              <a:solidFill>
                <a:srgbClr val="52C2A5"/>
              </a:solidFill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cxnSp>
          <p:nvCxnSpPr>
            <p:cNvPr id="35" name="直接连接符 34"/>
            <p:cNvCxnSpPr/>
            <p:nvPr>
              <p:custDataLst>
                <p:tags r:id="rId8"/>
              </p:custDataLst>
            </p:nvPr>
          </p:nvCxnSpPr>
          <p:spPr>
            <a:xfrm>
              <a:off x="1304924" y="4907605"/>
              <a:ext cx="2505076" cy="0"/>
            </a:xfrm>
            <a:prstGeom prst="line">
              <a:avLst/>
            </a:prstGeom>
            <a:ln>
              <a:solidFill>
                <a:srgbClr val="52C2A5"/>
              </a:solidFill>
              <a:tailEnd type="oval"/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sp>
          <p:nvSpPr>
            <p:cNvPr id="36" name="任意多边形 35"/>
            <p:cNvSpPr/>
            <p:nvPr>
              <p:custDataLst>
                <p:tags r:id="rId9"/>
              </p:custDataLst>
            </p:nvPr>
          </p:nvSpPr>
          <p:spPr>
            <a:xfrm>
              <a:off x="1304924" y="3171825"/>
              <a:ext cx="2647951" cy="1745305"/>
            </a:xfrm>
            <a:custGeom>
              <a:avLst/>
              <a:gdLst>
                <a:gd name="connsiteX0" fmla="*/ 1 w 2647951"/>
                <a:gd name="connsiteY0" fmla="*/ 0 h 1743075"/>
                <a:gd name="connsiteX1" fmla="*/ 2647951 w 2647951"/>
                <a:gd name="connsiteY1" fmla="*/ 0 h 1743075"/>
                <a:gd name="connsiteX2" fmla="*/ 2647951 w 2647951"/>
                <a:gd name="connsiteY2" fmla="*/ 1266825 h 1743075"/>
                <a:gd name="connsiteX3" fmla="*/ 297057 w 2647951"/>
                <a:gd name="connsiteY3" fmla="*/ 1266825 h 1743075"/>
                <a:gd name="connsiteX4" fmla="*/ 233437 w 2647951"/>
                <a:gd name="connsiteY4" fmla="*/ 1329240 h 1743075"/>
                <a:gd name="connsiteX5" fmla="*/ 0 w 2647951"/>
                <a:gd name="connsiteY5" fmla="*/ 1743075 h 1743075"/>
                <a:gd name="connsiteX6" fmla="*/ 0 w 2647951"/>
                <a:gd name="connsiteY6" fmla="*/ 1114425 h 1743075"/>
                <a:gd name="connsiteX7" fmla="*/ 1 w 2647951"/>
                <a:gd name="connsiteY7" fmla="*/ 1114425 h 1743075"/>
                <a:gd name="connsiteX0-1" fmla="*/ 1 w 2647951"/>
                <a:gd name="connsiteY0-2" fmla="*/ 0 h 1743075"/>
                <a:gd name="connsiteX1-3" fmla="*/ 2647951 w 2647951"/>
                <a:gd name="connsiteY1-4" fmla="*/ 0 h 1743075"/>
                <a:gd name="connsiteX2-5" fmla="*/ 2647951 w 2647951"/>
                <a:gd name="connsiteY2-6" fmla="*/ 1266825 h 1743075"/>
                <a:gd name="connsiteX3-7" fmla="*/ 297057 w 2647951"/>
                <a:gd name="connsiteY3-8" fmla="*/ 1266825 h 1743075"/>
                <a:gd name="connsiteX4-9" fmla="*/ 233437 w 2647951"/>
                <a:gd name="connsiteY4-10" fmla="*/ 1329240 h 1743075"/>
                <a:gd name="connsiteX5-11" fmla="*/ 0 w 2647951"/>
                <a:gd name="connsiteY5-12" fmla="*/ 1743075 h 1743075"/>
                <a:gd name="connsiteX6-13" fmla="*/ 0 w 2647951"/>
                <a:gd name="connsiteY6-14" fmla="*/ 1114425 h 1743075"/>
                <a:gd name="connsiteX7-15" fmla="*/ 1 w 2647951"/>
                <a:gd name="connsiteY7-16" fmla="*/ 1114425 h 1743075"/>
                <a:gd name="connsiteX8" fmla="*/ 1 w 2647951"/>
                <a:gd name="connsiteY8" fmla="*/ 0 h 1743075"/>
                <a:gd name="connsiteX0-17" fmla="*/ 1 w 2647951"/>
                <a:gd name="connsiteY0-18" fmla="*/ 0 h 1743075"/>
                <a:gd name="connsiteX1-19" fmla="*/ 2647951 w 2647951"/>
                <a:gd name="connsiteY1-20" fmla="*/ 0 h 1743075"/>
                <a:gd name="connsiteX2-21" fmla="*/ 2647951 w 2647951"/>
                <a:gd name="connsiteY2-22" fmla="*/ 1266825 h 1743075"/>
                <a:gd name="connsiteX3-23" fmla="*/ 516132 w 2647951"/>
                <a:gd name="connsiteY3-24" fmla="*/ 1323975 h 1743075"/>
                <a:gd name="connsiteX4-25" fmla="*/ 233437 w 2647951"/>
                <a:gd name="connsiteY4-26" fmla="*/ 1329240 h 1743075"/>
                <a:gd name="connsiteX5-27" fmla="*/ 0 w 2647951"/>
                <a:gd name="connsiteY5-28" fmla="*/ 1743075 h 1743075"/>
                <a:gd name="connsiteX6-29" fmla="*/ 0 w 2647951"/>
                <a:gd name="connsiteY6-30" fmla="*/ 1114425 h 1743075"/>
                <a:gd name="connsiteX7-31" fmla="*/ 1 w 2647951"/>
                <a:gd name="connsiteY7-32" fmla="*/ 1114425 h 1743075"/>
                <a:gd name="connsiteX8-33" fmla="*/ 1 w 2647951"/>
                <a:gd name="connsiteY8-34" fmla="*/ 0 h 1743075"/>
                <a:gd name="connsiteX0-35" fmla="*/ 1 w 2647951"/>
                <a:gd name="connsiteY0-36" fmla="*/ 0 h 1743075"/>
                <a:gd name="connsiteX1-37" fmla="*/ 2647951 w 2647951"/>
                <a:gd name="connsiteY1-38" fmla="*/ 0 h 1743075"/>
                <a:gd name="connsiteX2-39" fmla="*/ 2647951 w 2647951"/>
                <a:gd name="connsiteY2-40" fmla="*/ 1266825 h 1743075"/>
                <a:gd name="connsiteX3-41" fmla="*/ 516132 w 2647951"/>
                <a:gd name="connsiteY3-42" fmla="*/ 1323975 h 1743075"/>
                <a:gd name="connsiteX4-43" fmla="*/ 233437 w 2647951"/>
                <a:gd name="connsiteY4-44" fmla="*/ 1329240 h 1743075"/>
                <a:gd name="connsiteX5-45" fmla="*/ 0 w 2647951"/>
                <a:gd name="connsiteY5-46" fmla="*/ 1743075 h 1743075"/>
                <a:gd name="connsiteX6-47" fmla="*/ 0 w 2647951"/>
                <a:gd name="connsiteY6-48" fmla="*/ 1114425 h 1743075"/>
                <a:gd name="connsiteX7-49" fmla="*/ 1 w 2647951"/>
                <a:gd name="connsiteY7-50" fmla="*/ 1114425 h 1743075"/>
                <a:gd name="connsiteX8-51" fmla="*/ 1 w 2647951"/>
                <a:gd name="connsiteY8-52" fmla="*/ 0 h 1743075"/>
                <a:gd name="connsiteX0-53" fmla="*/ 1 w 2647951"/>
                <a:gd name="connsiteY0-54" fmla="*/ 0 h 1745366"/>
                <a:gd name="connsiteX1-55" fmla="*/ 2647951 w 2647951"/>
                <a:gd name="connsiteY1-56" fmla="*/ 0 h 1745366"/>
                <a:gd name="connsiteX2-57" fmla="*/ 2647951 w 2647951"/>
                <a:gd name="connsiteY2-58" fmla="*/ 1266825 h 1745366"/>
                <a:gd name="connsiteX3-59" fmla="*/ 516132 w 2647951"/>
                <a:gd name="connsiteY3-60" fmla="*/ 1323975 h 1745366"/>
                <a:gd name="connsiteX4-61" fmla="*/ 0 w 2647951"/>
                <a:gd name="connsiteY4-62" fmla="*/ 1743075 h 1745366"/>
                <a:gd name="connsiteX5-63" fmla="*/ 0 w 2647951"/>
                <a:gd name="connsiteY5-64" fmla="*/ 1114425 h 1745366"/>
                <a:gd name="connsiteX6-65" fmla="*/ 1 w 2647951"/>
                <a:gd name="connsiteY6-66" fmla="*/ 1114425 h 1745366"/>
                <a:gd name="connsiteX7-67" fmla="*/ 1 w 2647951"/>
                <a:gd name="connsiteY7-68" fmla="*/ 0 h 1745366"/>
                <a:gd name="connsiteX0-69" fmla="*/ 1 w 2647951"/>
                <a:gd name="connsiteY0-70" fmla="*/ 0 h 1745305"/>
                <a:gd name="connsiteX1-71" fmla="*/ 2647951 w 2647951"/>
                <a:gd name="connsiteY1-72" fmla="*/ 0 h 1745305"/>
                <a:gd name="connsiteX2-73" fmla="*/ 2638426 w 2647951"/>
                <a:gd name="connsiteY2-74" fmla="*/ 1333500 h 1745305"/>
                <a:gd name="connsiteX3-75" fmla="*/ 516132 w 2647951"/>
                <a:gd name="connsiteY3-76" fmla="*/ 1323975 h 1745305"/>
                <a:gd name="connsiteX4-77" fmla="*/ 0 w 2647951"/>
                <a:gd name="connsiteY4-78" fmla="*/ 1743075 h 1745305"/>
                <a:gd name="connsiteX5-79" fmla="*/ 0 w 2647951"/>
                <a:gd name="connsiteY5-80" fmla="*/ 1114425 h 1745305"/>
                <a:gd name="connsiteX6-81" fmla="*/ 1 w 2647951"/>
                <a:gd name="connsiteY6-82" fmla="*/ 1114425 h 1745305"/>
                <a:gd name="connsiteX7-83" fmla="*/ 1 w 2647951"/>
                <a:gd name="connsiteY7-84" fmla="*/ 0 h 1745305"/>
              </a:gdLst>
              <a:ahLst/>
              <a:cxnLst>
                <a:cxn ang="0">
                  <a:pos x="connsiteX0-69" y="connsiteY0-70"/>
                </a:cxn>
                <a:cxn ang="0">
                  <a:pos x="connsiteX1-71" y="connsiteY1-72"/>
                </a:cxn>
                <a:cxn ang="0">
                  <a:pos x="connsiteX2-73" y="connsiteY2-74"/>
                </a:cxn>
                <a:cxn ang="0">
                  <a:pos x="connsiteX3-75" y="connsiteY3-76"/>
                </a:cxn>
                <a:cxn ang="0">
                  <a:pos x="connsiteX4-77" y="connsiteY4-78"/>
                </a:cxn>
                <a:cxn ang="0">
                  <a:pos x="connsiteX5-79" y="connsiteY5-80"/>
                </a:cxn>
                <a:cxn ang="0">
                  <a:pos x="connsiteX6-81" y="connsiteY6-82"/>
                </a:cxn>
                <a:cxn ang="0">
                  <a:pos x="connsiteX7-83" y="connsiteY7-84"/>
                </a:cxn>
              </a:cxnLst>
              <a:rect l="l" t="t" r="r" b="b"/>
              <a:pathLst>
                <a:path w="2647951" h="1745305">
                  <a:moveTo>
                    <a:pt x="1" y="0"/>
                  </a:moveTo>
                  <a:lnTo>
                    <a:pt x="2647951" y="0"/>
                  </a:lnTo>
                  <a:lnTo>
                    <a:pt x="2638426" y="1333500"/>
                  </a:lnTo>
                  <a:cubicBezTo>
                    <a:pt x="2246610" y="1544638"/>
                    <a:pt x="955870" y="1255713"/>
                    <a:pt x="516132" y="1323975"/>
                  </a:cubicBezTo>
                  <a:cubicBezTo>
                    <a:pt x="76394" y="1392237"/>
                    <a:pt x="86022" y="1778000"/>
                    <a:pt x="0" y="1743075"/>
                  </a:cubicBezTo>
                  <a:lnTo>
                    <a:pt x="0" y="1114425"/>
                  </a:lnTo>
                  <a:lnTo>
                    <a:pt x="1" y="1114425"/>
                  </a:lnTo>
                  <a:lnTo>
                    <a:pt x="1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70CFE2">
                <a:shade val="50000"/>
              </a:srgbClr>
            </a:lnRef>
            <a:fillRef idx="1">
              <a:srgbClr val="70CFE2"/>
            </a:fillRef>
            <a:effectRef idx="0">
              <a:srgbClr val="70CFE2"/>
            </a:effectRef>
            <a:fontRef idx="minor">
              <a:srgbClr val="FFFFFF"/>
            </a:fontRef>
          </p:style>
          <p:txBody>
            <a:bodyPr bIns="504000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endParaRPr lang="zh-CN" altLang="en-US" dirty="0">
                <a:solidFill>
                  <a:srgbClr val="FFFFFF"/>
                </a:solidFill>
              </a:endParaRPr>
            </a:p>
          </p:txBody>
        </p:sp>
        <p:sp>
          <p:nvSpPr>
            <p:cNvPr id="37" name="文本框 36"/>
            <p:cNvSpPr txBox="1"/>
            <p:nvPr>
              <p:custDataLst>
                <p:tags r:id="rId10"/>
              </p:custDataLst>
            </p:nvPr>
          </p:nvSpPr>
          <p:spPr>
            <a:xfrm>
              <a:off x="3295650" y="4539734"/>
              <a:ext cx="476250" cy="369332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r>
                <a:rPr lang="en-US" altLang="zh-CN" dirty="0"/>
                <a:t>B</a:t>
              </a:r>
              <a:endParaRPr lang="zh-CN" altLang="en-US" dirty="0"/>
            </a:p>
          </p:txBody>
        </p:sp>
      </p:grpSp>
      <p:grpSp>
        <p:nvGrpSpPr>
          <p:cNvPr id="38" name="组合 37"/>
          <p:cNvGrpSpPr/>
          <p:nvPr>
            <p:custDataLst>
              <p:tags r:id="rId11"/>
            </p:custDataLst>
          </p:nvPr>
        </p:nvGrpSpPr>
        <p:grpSpPr>
          <a:xfrm>
            <a:off x="1983941" y="4166972"/>
            <a:ext cx="3404512" cy="2243966"/>
            <a:chOff x="1304924" y="3171825"/>
            <a:chExt cx="2647951" cy="1745305"/>
          </a:xfrm>
        </p:grpSpPr>
        <p:cxnSp>
          <p:nvCxnSpPr>
            <p:cNvPr id="42" name="直接连接符 41"/>
            <p:cNvCxnSpPr/>
            <p:nvPr>
              <p:custDataLst>
                <p:tags r:id="rId12"/>
              </p:custDataLst>
            </p:nvPr>
          </p:nvCxnSpPr>
          <p:spPr>
            <a:xfrm>
              <a:off x="1390650" y="4791075"/>
              <a:ext cx="1866900" cy="0"/>
            </a:xfrm>
            <a:prstGeom prst="line">
              <a:avLst/>
            </a:prstGeom>
            <a:ln>
              <a:solidFill>
                <a:srgbClr val="52C2A5"/>
              </a:solidFill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cxnSp>
          <p:nvCxnSpPr>
            <p:cNvPr id="43" name="直接连接符 42"/>
            <p:cNvCxnSpPr/>
            <p:nvPr>
              <p:custDataLst>
                <p:tags r:id="rId13"/>
              </p:custDataLst>
            </p:nvPr>
          </p:nvCxnSpPr>
          <p:spPr>
            <a:xfrm>
              <a:off x="1304924" y="4907605"/>
              <a:ext cx="2505076" cy="0"/>
            </a:xfrm>
            <a:prstGeom prst="line">
              <a:avLst/>
            </a:prstGeom>
            <a:ln>
              <a:solidFill>
                <a:srgbClr val="52C2A5"/>
              </a:solidFill>
              <a:tailEnd type="oval"/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sp>
          <p:nvSpPr>
            <p:cNvPr id="44" name="任意多边形 43"/>
            <p:cNvSpPr/>
            <p:nvPr>
              <p:custDataLst>
                <p:tags r:id="rId14"/>
              </p:custDataLst>
            </p:nvPr>
          </p:nvSpPr>
          <p:spPr>
            <a:xfrm>
              <a:off x="1304924" y="3171825"/>
              <a:ext cx="2647951" cy="1745305"/>
            </a:xfrm>
            <a:custGeom>
              <a:avLst/>
              <a:gdLst>
                <a:gd name="connsiteX0" fmla="*/ 1 w 2647951"/>
                <a:gd name="connsiteY0" fmla="*/ 0 h 1743075"/>
                <a:gd name="connsiteX1" fmla="*/ 2647951 w 2647951"/>
                <a:gd name="connsiteY1" fmla="*/ 0 h 1743075"/>
                <a:gd name="connsiteX2" fmla="*/ 2647951 w 2647951"/>
                <a:gd name="connsiteY2" fmla="*/ 1266825 h 1743075"/>
                <a:gd name="connsiteX3" fmla="*/ 297057 w 2647951"/>
                <a:gd name="connsiteY3" fmla="*/ 1266825 h 1743075"/>
                <a:gd name="connsiteX4" fmla="*/ 233437 w 2647951"/>
                <a:gd name="connsiteY4" fmla="*/ 1329240 h 1743075"/>
                <a:gd name="connsiteX5" fmla="*/ 0 w 2647951"/>
                <a:gd name="connsiteY5" fmla="*/ 1743075 h 1743075"/>
                <a:gd name="connsiteX6" fmla="*/ 0 w 2647951"/>
                <a:gd name="connsiteY6" fmla="*/ 1114425 h 1743075"/>
                <a:gd name="connsiteX7" fmla="*/ 1 w 2647951"/>
                <a:gd name="connsiteY7" fmla="*/ 1114425 h 1743075"/>
                <a:gd name="connsiteX0-1" fmla="*/ 1 w 2647951"/>
                <a:gd name="connsiteY0-2" fmla="*/ 0 h 1743075"/>
                <a:gd name="connsiteX1-3" fmla="*/ 2647951 w 2647951"/>
                <a:gd name="connsiteY1-4" fmla="*/ 0 h 1743075"/>
                <a:gd name="connsiteX2-5" fmla="*/ 2647951 w 2647951"/>
                <a:gd name="connsiteY2-6" fmla="*/ 1266825 h 1743075"/>
                <a:gd name="connsiteX3-7" fmla="*/ 297057 w 2647951"/>
                <a:gd name="connsiteY3-8" fmla="*/ 1266825 h 1743075"/>
                <a:gd name="connsiteX4-9" fmla="*/ 233437 w 2647951"/>
                <a:gd name="connsiteY4-10" fmla="*/ 1329240 h 1743075"/>
                <a:gd name="connsiteX5-11" fmla="*/ 0 w 2647951"/>
                <a:gd name="connsiteY5-12" fmla="*/ 1743075 h 1743075"/>
                <a:gd name="connsiteX6-13" fmla="*/ 0 w 2647951"/>
                <a:gd name="connsiteY6-14" fmla="*/ 1114425 h 1743075"/>
                <a:gd name="connsiteX7-15" fmla="*/ 1 w 2647951"/>
                <a:gd name="connsiteY7-16" fmla="*/ 1114425 h 1743075"/>
                <a:gd name="connsiteX8" fmla="*/ 1 w 2647951"/>
                <a:gd name="connsiteY8" fmla="*/ 0 h 1743075"/>
                <a:gd name="connsiteX0-17" fmla="*/ 1 w 2647951"/>
                <a:gd name="connsiteY0-18" fmla="*/ 0 h 1743075"/>
                <a:gd name="connsiteX1-19" fmla="*/ 2647951 w 2647951"/>
                <a:gd name="connsiteY1-20" fmla="*/ 0 h 1743075"/>
                <a:gd name="connsiteX2-21" fmla="*/ 2647951 w 2647951"/>
                <a:gd name="connsiteY2-22" fmla="*/ 1266825 h 1743075"/>
                <a:gd name="connsiteX3-23" fmla="*/ 516132 w 2647951"/>
                <a:gd name="connsiteY3-24" fmla="*/ 1323975 h 1743075"/>
                <a:gd name="connsiteX4-25" fmla="*/ 233437 w 2647951"/>
                <a:gd name="connsiteY4-26" fmla="*/ 1329240 h 1743075"/>
                <a:gd name="connsiteX5-27" fmla="*/ 0 w 2647951"/>
                <a:gd name="connsiteY5-28" fmla="*/ 1743075 h 1743075"/>
                <a:gd name="connsiteX6-29" fmla="*/ 0 w 2647951"/>
                <a:gd name="connsiteY6-30" fmla="*/ 1114425 h 1743075"/>
                <a:gd name="connsiteX7-31" fmla="*/ 1 w 2647951"/>
                <a:gd name="connsiteY7-32" fmla="*/ 1114425 h 1743075"/>
                <a:gd name="connsiteX8-33" fmla="*/ 1 w 2647951"/>
                <a:gd name="connsiteY8-34" fmla="*/ 0 h 1743075"/>
                <a:gd name="connsiteX0-35" fmla="*/ 1 w 2647951"/>
                <a:gd name="connsiteY0-36" fmla="*/ 0 h 1743075"/>
                <a:gd name="connsiteX1-37" fmla="*/ 2647951 w 2647951"/>
                <a:gd name="connsiteY1-38" fmla="*/ 0 h 1743075"/>
                <a:gd name="connsiteX2-39" fmla="*/ 2647951 w 2647951"/>
                <a:gd name="connsiteY2-40" fmla="*/ 1266825 h 1743075"/>
                <a:gd name="connsiteX3-41" fmla="*/ 516132 w 2647951"/>
                <a:gd name="connsiteY3-42" fmla="*/ 1323975 h 1743075"/>
                <a:gd name="connsiteX4-43" fmla="*/ 233437 w 2647951"/>
                <a:gd name="connsiteY4-44" fmla="*/ 1329240 h 1743075"/>
                <a:gd name="connsiteX5-45" fmla="*/ 0 w 2647951"/>
                <a:gd name="connsiteY5-46" fmla="*/ 1743075 h 1743075"/>
                <a:gd name="connsiteX6-47" fmla="*/ 0 w 2647951"/>
                <a:gd name="connsiteY6-48" fmla="*/ 1114425 h 1743075"/>
                <a:gd name="connsiteX7-49" fmla="*/ 1 w 2647951"/>
                <a:gd name="connsiteY7-50" fmla="*/ 1114425 h 1743075"/>
                <a:gd name="connsiteX8-51" fmla="*/ 1 w 2647951"/>
                <a:gd name="connsiteY8-52" fmla="*/ 0 h 1743075"/>
                <a:gd name="connsiteX0-53" fmla="*/ 1 w 2647951"/>
                <a:gd name="connsiteY0-54" fmla="*/ 0 h 1745366"/>
                <a:gd name="connsiteX1-55" fmla="*/ 2647951 w 2647951"/>
                <a:gd name="connsiteY1-56" fmla="*/ 0 h 1745366"/>
                <a:gd name="connsiteX2-57" fmla="*/ 2647951 w 2647951"/>
                <a:gd name="connsiteY2-58" fmla="*/ 1266825 h 1745366"/>
                <a:gd name="connsiteX3-59" fmla="*/ 516132 w 2647951"/>
                <a:gd name="connsiteY3-60" fmla="*/ 1323975 h 1745366"/>
                <a:gd name="connsiteX4-61" fmla="*/ 0 w 2647951"/>
                <a:gd name="connsiteY4-62" fmla="*/ 1743075 h 1745366"/>
                <a:gd name="connsiteX5-63" fmla="*/ 0 w 2647951"/>
                <a:gd name="connsiteY5-64" fmla="*/ 1114425 h 1745366"/>
                <a:gd name="connsiteX6-65" fmla="*/ 1 w 2647951"/>
                <a:gd name="connsiteY6-66" fmla="*/ 1114425 h 1745366"/>
                <a:gd name="connsiteX7-67" fmla="*/ 1 w 2647951"/>
                <a:gd name="connsiteY7-68" fmla="*/ 0 h 1745366"/>
                <a:gd name="connsiteX0-69" fmla="*/ 1 w 2647951"/>
                <a:gd name="connsiteY0-70" fmla="*/ 0 h 1745305"/>
                <a:gd name="connsiteX1-71" fmla="*/ 2647951 w 2647951"/>
                <a:gd name="connsiteY1-72" fmla="*/ 0 h 1745305"/>
                <a:gd name="connsiteX2-73" fmla="*/ 2638426 w 2647951"/>
                <a:gd name="connsiteY2-74" fmla="*/ 1333500 h 1745305"/>
                <a:gd name="connsiteX3-75" fmla="*/ 516132 w 2647951"/>
                <a:gd name="connsiteY3-76" fmla="*/ 1323975 h 1745305"/>
                <a:gd name="connsiteX4-77" fmla="*/ 0 w 2647951"/>
                <a:gd name="connsiteY4-78" fmla="*/ 1743075 h 1745305"/>
                <a:gd name="connsiteX5-79" fmla="*/ 0 w 2647951"/>
                <a:gd name="connsiteY5-80" fmla="*/ 1114425 h 1745305"/>
                <a:gd name="connsiteX6-81" fmla="*/ 1 w 2647951"/>
                <a:gd name="connsiteY6-82" fmla="*/ 1114425 h 1745305"/>
                <a:gd name="connsiteX7-83" fmla="*/ 1 w 2647951"/>
                <a:gd name="connsiteY7-84" fmla="*/ 0 h 1745305"/>
              </a:gdLst>
              <a:ahLst/>
              <a:cxnLst>
                <a:cxn ang="0">
                  <a:pos x="connsiteX0-69" y="connsiteY0-70"/>
                </a:cxn>
                <a:cxn ang="0">
                  <a:pos x="connsiteX1-71" y="connsiteY1-72"/>
                </a:cxn>
                <a:cxn ang="0">
                  <a:pos x="connsiteX2-73" y="connsiteY2-74"/>
                </a:cxn>
                <a:cxn ang="0">
                  <a:pos x="connsiteX3-75" y="connsiteY3-76"/>
                </a:cxn>
                <a:cxn ang="0">
                  <a:pos x="connsiteX4-77" y="connsiteY4-78"/>
                </a:cxn>
                <a:cxn ang="0">
                  <a:pos x="connsiteX5-79" y="connsiteY5-80"/>
                </a:cxn>
                <a:cxn ang="0">
                  <a:pos x="connsiteX6-81" y="connsiteY6-82"/>
                </a:cxn>
                <a:cxn ang="0">
                  <a:pos x="connsiteX7-83" y="connsiteY7-84"/>
                </a:cxn>
              </a:cxnLst>
              <a:rect l="l" t="t" r="r" b="b"/>
              <a:pathLst>
                <a:path w="2647951" h="1745305">
                  <a:moveTo>
                    <a:pt x="1" y="0"/>
                  </a:moveTo>
                  <a:lnTo>
                    <a:pt x="2647951" y="0"/>
                  </a:lnTo>
                  <a:lnTo>
                    <a:pt x="2638426" y="1333500"/>
                  </a:lnTo>
                  <a:cubicBezTo>
                    <a:pt x="2246610" y="1544638"/>
                    <a:pt x="955870" y="1255713"/>
                    <a:pt x="516132" y="1323975"/>
                  </a:cubicBezTo>
                  <a:cubicBezTo>
                    <a:pt x="76394" y="1392237"/>
                    <a:pt x="86022" y="1778000"/>
                    <a:pt x="0" y="1743075"/>
                  </a:cubicBezTo>
                  <a:lnTo>
                    <a:pt x="0" y="1114425"/>
                  </a:lnTo>
                  <a:lnTo>
                    <a:pt x="1" y="1114425"/>
                  </a:lnTo>
                  <a:lnTo>
                    <a:pt x="1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70CFE2">
                <a:shade val="50000"/>
              </a:srgbClr>
            </a:lnRef>
            <a:fillRef idx="1">
              <a:srgbClr val="70CFE2"/>
            </a:fillRef>
            <a:effectRef idx="0">
              <a:srgbClr val="70CFE2"/>
            </a:effectRef>
            <a:fontRef idx="minor">
              <a:srgbClr val="FFFFFF"/>
            </a:fontRef>
          </p:style>
          <p:txBody>
            <a:bodyPr bIns="504000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endParaRPr lang="zh-CN" altLang="en-US" dirty="0">
                <a:solidFill>
                  <a:srgbClr val="FFFFFF"/>
                </a:solidFill>
              </a:endParaRPr>
            </a:p>
          </p:txBody>
        </p:sp>
        <p:sp>
          <p:nvSpPr>
            <p:cNvPr id="45" name="文本框 44"/>
            <p:cNvSpPr txBox="1"/>
            <p:nvPr>
              <p:custDataLst>
                <p:tags r:id="rId15"/>
              </p:custDataLst>
            </p:nvPr>
          </p:nvSpPr>
          <p:spPr>
            <a:xfrm>
              <a:off x="3295650" y="4532145"/>
              <a:ext cx="476249" cy="384513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r>
                <a:rPr lang="en-US" altLang="zh-CN" dirty="0"/>
                <a:t>C</a:t>
              </a:r>
              <a:endParaRPr lang="zh-CN" altLang="en-US" dirty="0"/>
            </a:p>
          </p:txBody>
        </p:sp>
      </p:grpSp>
      <p:grpSp>
        <p:nvGrpSpPr>
          <p:cNvPr id="39" name="组合 38"/>
          <p:cNvGrpSpPr/>
          <p:nvPr>
            <p:custDataLst>
              <p:tags r:id="rId16"/>
            </p:custDataLst>
          </p:nvPr>
        </p:nvGrpSpPr>
        <p:grpSpPr>
          <a:xfrm>
            <a:off x="6849268" y="4166972"/>
            <a:ext cx="3404512" cy="2243966"/>
            <a:chOff x="1304924" y="3171825"/>
            <a:chExt cx="2647951" cy="1745305"/>
          </a:xfrm>
        </p:grpSpPr>
        <p:cxnSp>
          <p:nvCxnSpPr>
            <p:cNvPr id="40" name="直接连接符 39"/>
            <p:cNvCxnSpPr/>
            <p:nvPr>
              <p:custDataLst>
                <p:tags r:id="rId17"/>
              </p:custDataLst>
            </p:nvPr>
          </p:nvCxnSpPr>
          <p:spPr>
            <a:xfrm>
              <a:off x="1390650" y="4791075"/>
              <a:ext cx="1866900" cy="0"/>
            </a:xfrm>
            <a:prstGeom prst="line">
              <a:avLst/>
            </a:prstGeom>
            <a:ln>
              <a:solidFill>
                <a:srgbClr val="52C2A5"/>
              </a:solidFill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cxnSp>
          <p:nvCxnSpPr>
            <p:cNvPr id="41" name="直接连接符 40"/>
            <p:cNvCxnSpPr/>
            <p:nvPr>
              <p:custDataLst>
                <p:tags r:id="rId18"/>
              </p:custDataLst>
            </p:nvPr>
          </p:nvCxnSpPr>
          <p:spPr>
            <a:xfrm>
              <a:off x="1304924" y="4907605"/>
              <a:ext cx="2505076" cy="0"/>
            </a:xfrm>
            <a:prstGeom prst="line">
              <a:avLst/>
            </a:prstGeom>
            <a:ln>
              <a:solidFill>
                <a:srgbClr val="52C2A5"/>
              </a:solidFill>
              <a:tailEnd type="oval"/>
            </a:ln>
          </p:spPr>
          <p:style>
            <a:lnRef idx="1">
              <a:srgbClr val="70CFE2"/>
            </a:lnRef>
            <a:fillRef idx="0">
              <a:srgbClr val="70CFE2"/>
            </a:fillRef>
            <a:effectRef idx="0">
              <a:srgbClr val="70CFE2"/>
            </a:effectRef>
            <a:fontRef idx="minor">
              <a:srgbClr val="5F5F5F"/>
            </a:fontRef>
          </p:style>
        </p:cxnSp>
        <p:sp>
          <p:nvSpPr>
            <p:cNvPr id="46" name="任意多边形 45"/>
            <p:cNvSpPr/>
            <p:nvPr>
              <p:custDataLst>
                <p:tags r:id="rId19"/>
              </p:custDataLst>
            </p:nvPr>
          </p:nvSpPr>
          <p:spPr>
            <a:xfrm>
              <a:off x="1304924" y="3171825"/>
              <a:ext cx="2647951" cy="1745305"/>
            </a:xfrm>
            <a:custGeom>
              <a:avLst/>
              <a:gdLst>
                <a:gd name="connsiteX0" fmla="*/ 1 w 2647951"/>
                <a:gd name="connsiteY0" fmla="*/ 0 h 1743075"/>
                <a:gd name="connsiteX1" fmla="*/ 2647951 w 2647951"/>
                <a:gd name="connsiteY1" fmla="*/ 0 h 1743075"/>
                <a:gd name="connsiteX2" fmla="*/ 2647951 w 2647951"/>
                <a:gd name="connsiteY2" fmla="*/ 1266825 h 1743075"/>
                <a:gd name="connsiteX3" fmla="*/ 297057 w 2647951"/>
                <a:gd name="connsiteY3" fmla="*/ 1266825 h 1743075"/>
                <a:gd name="connsiteX4" fmla="*/ 233437 w 2647951"/>
                <a:gd name="connsiteY4" fmla="*/ 1329240 h 1743075"/>
                <a:gd name="connsiteX5" fmla="*/ 0 w 2647951"/>
                <a:gd name="connsiteY5" fmla="*/ 1743075 h 1743075"/>
                <a:gd name="connsiteX6" fmla="*/ 0 w 2647951"/>
                <a:gd name="connsiteY6" fmla="*/ 1114425 h 1743075"/>
                <a:gd name="connsiteX7" fmla="*/ 1 w 2647951"/>
                <a:gd name="connsiteY7" fmla="*/ 1114425 h 1743075"/>
                <a:gd name="connsiteX0-1" fmla="*/ 1 w 2647951"/>
                <a:gd name="connsiteY0-2" fmla="*/ 0 h 1743075"/>
                <a:gd name="connsiteX1-3" fmla="*/ 2647951 w 2647951"/>
                <a:gd name="connsiteY1-4" fmla="*/ 0 h 1743075"/>
                <a:gd name="connsiteX2-5" fmla="*/ 2647951 w 2647951"/>
                <a:gd name="connsiteY2-6" fmla="*/ 1266825 h 1743075"/>
                <a:gd name="connsiteX3-7" fmla="*/ 297057 w 2647951"/>
                <a:gd name="connsiteY3-8" fmla="*/ 1266825 h 1743075"/>
                <a:gd name="connsiteX4-9" fmla="*/ 233437 w 2647951"/>
                <a:gd name="connsiteY4-10" fmla="*/ 1329240 h 1743075"/>
                <a:gd name="connsiteX5-11" fmla="*/ 0 w 2647951"/>
                <a:gd name="connsiteY5-12" fmla="*/ 1743075 h 1743075"/>
                <a:gd name="connsiteX6-13" fmla="*/ 0 w 2647951"/>
                <a:gd name="connsiteY6-14" fmla="*/ 1114425 h 1743075"/>
                <a:gd name="connsiteX7-15" fmla="*/ 1 w 2647951"/>
                <a:gd name="connsiteY7-16" fmla="*/ 1114425 h 1743075"/>
                <a:gd name="connsiteX8" fmla="*/ 1 w 2647951"/>
                <a:gd name="connsiteY8" fmla="*/ 0 h 1743075"/>
                <a:gd name="connsiteX0-17" fmla="*/ 1 w 2647951"/>
                <a:gd name="connsiteY0-18" fmla="*/ 0 h 1743075"/>
                <a:gd name="connsiteX1-19" fmla="*/ 2647951 w 2647951"/>
                <a:gd name="connsiteY1-20" fmla="*/ 0 h 1743075"/>
                <a:gd name="connsiteX2-21" fmla="*/ 2647951 w 2647951"/>
                <a:gd name="connsiteY2-22" fmla="*/ 1266825 h 1743075"/>
                <a:gd name="connsiteX3-23" fmla="*/ 516132 w 2647951"/>
                <a:gd name="connsiteY3-24" fmla="*/ 1323975 h 1743075"/>
                <a:gd name="connsiteX4-25" fmla="*/ 233437 w 2647951"/>
                <a:gd name="connsiteY4-26" fmla="*/ 1329240 h 1743075"/>
                <a:gd name="connsiteX5-27" fmla="*/ 0 w 2647951"/>
                <a:gd name="connsiteY5-28" fmla="*/ 1743075 h 1743075"/>
                <a:gd name="connsiteX6-29" fmla="*/ 0 w 2647951"/>
                <a:gd name="connsiteY6-30" fmla="*/ 1114425 h 1743075"/>
                <a:gd name="connsiteX7-31" fmla="*/ 1 w 2647951"/>
                <a:gd name="connsiteY7-32" fmla="*/ 1114425 h 1743075"/>
                <a:gd name="connsiteX8-33" fmla="*/ 1 w 2647951"/>
                <a:gd name="connsiteY8-34" fmla="*/ 0 h 1743075"/>
                <a:gd name="connsiteX0-35" fmla="*/ 1 w 2647951"/>
                <a:gd name="connsiteY0-36" fmla="*/ 0 h 1743075"/>
                <a:gd name="connsiteX1-37" fmla="*/ 2647951 w 2647951"/>
                <a:gd name="connsiteY1-38" fmla="*/ 0 h 1743075"/>
                <a:gd name="connsiteX2-39" fmla="*/ 2647951 w 2647951"/>
                <a:gd name="connsiteY2-40" fmla="*/ 1266825 h 1743075"/>
                <a:gd name="connsiteX3-41" fmla="*/ 516132 w 2647951"/>
                <a:gd name="connsiteY3-42" fmla="*/ 1323975 h 1743075"/>
                <a:gd name="connsiteX4-43" fmla="*/ 233437 w 2647951"/>
                <a:gd name="connsiteY4-44" fmla="*/ 1329240 h 1743075"/>
                <a:gd name="connsiteX5-45" fmla="*/ 0 w 2647951"/>
                <a:gd name="connsiteY5-46" fmla="*/ 1743075 h 1743075"/>
                <a:gd name="connsiteX6-47" fmla="*/ 0 w 2647951"/>
                <a:gd name="connsiteY6-48" fmla="*/ 1114425 h 1743075"/>
                <a:gd name="connsiteX7-49" fmla="*/ 1 w 2647951"/>
                <a:gd name="connsiteY7-50" fmla="*/ 1114425 h 1743075"/>
                <a:gd name="connsiteX8-51" fmla="*/ 1 w 2647951"/>
                <a:gd name="connsiteY8-52" fmla="*/ 0 h 1743075"/>
                <a:gd name="connsiteX0-53" fmla="*/ 1 w 2647951"/>
                <a:gd name="connsiteY0-54" fmla="*/ 0 h 1745366"/>
                <a:gd name="connsiteX1-55" fmla="*/ 2647951 w 2647951"/>
                <a:gd name="connsiteY1-56" fmla="*/ 0 h 1745366"/>
                <a:gd name="connsiteX2-57" fmla="*/ 2647951 w 2647951"/>
                <a:gd name="connsiteY2-58" fmla="*/ 1266825 h 1745366"/>
                <a:gd name="connsiteX3-59" fmla="*/ 516132 w 2647951"/>
                <a:gd name="connsiteY3-60" fmla="*/ 1323975 h 1745366"/>
                <a:gd name="connsiteX4-61" fmla="*/ 0 w 2647951"/>
                <a:gd name="connsiteY4-62" fmla="*/ 1743075 h 1745366"/>
                <a:gd name="connsiteX5-63" fmla="*/ 0 w 2647951"/>
                <a:gd name="connsiteY5-64" fmla="*/ 1114425 h 1745366"/>
                <a:gd name="connsiteX6-65" fmla="*/ 1 w 2647951"/>
                <a:gd name="connsiteY6-66" fmla="*/ 1114425 h 1745366"/>
                <a:gd name="connsiteX7-67" fmla="*/ 1 w 2647951"/>
                <a:gd name="connsiteY7-68" fmla="*/ 0 h 1745366"/>
                <a:gd name="connsiteX0-69" fmla="*/ 1 w 2647951"/>
                <a:gd name="connsiteY0-70" fmla="*/ 0 h 1745305"/>
                <a:gd name="connsiteX1-71" fmla="*/ 2647951 w 2647951"/>
                <a:gd name="connsiteY1-72" fmla="*/ 0 h 1745305"/>
                <a:gd name="connsiteX2-73" fmla="*/ 2638426 w 2647951"/>
                <a:gd name="connsiteY2-74" fmla="*/ 1333500 h 1745305"/>
                <a:gd name="connsiteX3-75" fmla="*/ 516132 w 2647951"/>
                <a:gd name="connsiteY3-76" fmla="*/ 1323975 h 1745305"/>
                <a:gd name="connsiteX4-77" fmla="*/ 0 w 2647951"/>
                <a:gd name="connsiteY4-78" fmla="*/ 1743075 h 1745305"/>
                <a:gd name="connsiteX5-79" fmla="*/ 0 w 2647951"/>
                <a:gd name="connsiteY5-80" fmla="*/ 1114425 h 1745305"/>
                <a:gd name="connsiteX6-81" fmla="*/ 1 w 2647951"/>
                <a:gd name="connsiteY6-82" fmla="*/ 1114425 h 1745305"/>
                <a:gd name="connsiteX7-83" fmla="*/ 1 w 2647951"/>
                <a:gd name="connsiteY7-84" fmla="*/ 0 h 1745305"/>
              </a:gdLst>
              <a:ahLst/>
              <a:cxnLst>
                <a:cxn ang="0">
                  <a:pos x="connsiteX0-69" y="connsiteY0-70"/>
                </a:cxn>
                <a:cxn ang="0">
                  <a:pos x="connsiteX1-71" y="connsiteY1-72"/>
                </a:cxn>
                <a:cxn ang="0">
                  <a:pos x="connsiteX2-73" y="connsiteY2-74"/>
                </a:cxn>
                <a:cxn ang="0">
                  <a:pos x="connsiteX3-75" y="connsiteY3-76"/>
                </a:cxn>
                <a:cxn ang="0">
                  <a:pos x="connsiteX4-77" y="connsiteY4-78"/>
                </a:cxn>
                <a:cxn ang="0">
                  <a:pos x="connsiteX5-79" y="connsiteY5-80"/>
                </a:cxn>
                <a:cxn ang="0">
                  <a:pos x="connsiteX6-81" y="connsiteY6-82"/>
                </a:cxn>
                <a:cxn ang="0">
                  <a:pos x="connsiteX7-83" y="connsiteY7-84"/>
                </a:cxn>
              </a:cxnLst>
              <a:rect l="l" t="t" r="r" b="b"/>
              <a:pathLst>
                <a:path w="2647951" h="1745305">
                  <a:moveTo>
                    <a:pt x="1" y="0"/>
                  </a:moveTo>
                  <a:lnTo>
                    <a:pt x="2647951" y="0"/>
                  </a:lnTo>
                  <a:lnTo>
                    <a:pt x="2638426" y="1333500"/>
                  </a:lnTo>
                  <a:cubicBezTo>
                    <a:pt x="2246610" y="1544638"/>
                    <a:pt x="955870" y="1255713"/>
                    <a:pt x="516132" y="1323975"/>
                  </a:cubicBezTo>
                  <a:cubicBezTo>
                    <a:pt x="76394" y="1392237"/>
                    <a:pt x="86022" y="1778000"/>
                    <a:pt x="0" y="1743075"/>
                  </a:cubicBezTo>
                  <a:lnTo>
                    <a:pt x="0" y="1114425"/>
                  </a:lnTo>
                  <a:lnTo>
                    <a:pt x="1" y="1114425"/>
                  </a:lnTo>
                  <a:lnTo>
                    <a:pt x="1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rgbClr val="70CFE2">
                <a:shade val="50000"/>
              </a:srgbClr>
            </a:lnRef>
            <a:fillRef idx="1">
              <a:srgbClr val="70CFE2"/>
            </a:fillRef>
            <a:effectRef idx="0">
              <a:srgbClr val="70CFE2"/>
            </a:effectRef>
            <a:fontRef idx="minor">
              <a:srgbClr val="FFFFFF"/>
            </a:fontRef>
          </p:style>
          <p:txBody>
            <a:bodyPr bIns="504000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endParaRPr lang="zh-CN" altLang="en-US" dirty="0">
                <a:solidFill>
                  <a:srgbClr val="FFFFFF"/>
                </a:solidFill>
              </a:endParaRPr>
            </a:p>
          </p:txBody>
        </p:sp>
        <p:sp>
          <p:nvSpPr>
            <p:cNvPr id="47" name="文本框 46"/>
            <p:cNvSpPr txBox="1"/>
            <p:nvPr>
              <p:custDataLst>
                <p:tags r:id="rId20"/>
              </p:custDataLst>
            </p:nvPr>
          </p:nvSpPr>
          <p:spPr>
            <a:xfrm>
              <a:off x="3295650" y="4532145"/>
              <a:ext cx="476249" cy="384513"/>
            </a:xfrm>
            <a:prstGeom prst="rect">
              <a:avLst/>
            </a:prstGeom>
            <a:noFill/>
          </p:spPr>
          <p:txBody>
            <a:bodyPr wrap="square" rtlCol="0" anchor="ctr">
              <a:normAutofit/>
            </a:bodyPr>
            <a:p>
              <a:pPr algn="ctr" fontAlgn="auto">
                <a:lnSpc>
                  <a:spcPct val="120000"/>
                </a:lnSpc>
              </a:pPr>
              <a:r>
                <a:rPr lang="en-US" altLang="zh-CN" dirty="0"/>
                <a:t>D</a:t>
              </a:r>
              <a:endParaRPr lang="zh-CN" altLang="en-US" dirty="0"/>
            </a:p>
          </p:txBody>
        </p:sp>
      </p:grpSp>
      <p:sp>
        <p:nvSpPr>
          <p:cNvPr id="48" name="文本框 47"/>
          <p:cNvSpPr txBox="1"/>
          <p:nvPr>
            <p:custDataLst>
              <p:tags r:id="rId21"/>
            </p:custDataLst>
          </p:nvPr>
        </p:nvSpPr>
        <p:spPr>
          <a:xfrm>
            <a:off x="2023621" y="1554317"/>
            <a:ext cx="3364832" cy="1709324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p>
            <a:pPr algn="ctr" fontAlgn="auto">
              <a:lnSpc>
                <a:spcPct val="120000"/>
              </a:lnSpc>
            </a:pPr>
            <a:r>
              <a:rPr lang="en-US" altLang="zh-CN" sz="2400" b="1" spc="150">
                <a:solidFill>
                  <a:schemeClr val="accent1">
                    <a:lumMod val="60000"/>
                    <a:lumOff val="4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2" action="ppaction://hlinksldjump"/>
              </a:rPr>
              <a:t>Greek(38.2%) and Latin(38.3%)</a:t>
            </a:r>
            <a:endParaRPr lang="en-US" altLang="zh-CN" sz="2400" b="1" spc="150">
              <a:solidFill>
                <a:schemeClr val="accent1">
                  <a:lumMod val="60000"/>
                  <a:lumOff val="4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hlinkClick r:id="rId22" action="ppaction://hlinksldjump"/>
            </a:endParaRPr>
          </a:p>
        </p:txBody>
      </p:sp>
      <p:sp>
        <p:nvSpPr>
          <p:cNvPr id="49" name="文本框 48"/>
          <p:cNvSpPr txBox="1"/>
          <p:nvPr>
            <p:custDataLst>
              <p:tags r:id="rId23"/>
            </p:custDataLst>
          </p:nvPr>
        </p:nvSpPr>
        <p:spPr>
          <a:xfrm>
            <a:off x="6848686" y="1554317"/>
            <a:ext cx="3404512" cy="1709324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p>
            <a:pPr algn="ctr" fontAlgn="auto">
              <a:lnSpc>
                <a:spcPct val="120000"/>
              </a:lnSpc>
            </a:pPr>
            <a:r>
              <a:rPr lang="en-US" altLang="zh-CN" sz="2400" b="1" spc="1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Eponyms</a:t>
            </a:r>
            <a:endParaRPr lang="en-US" altLang="zh-CN" sz="2400" b="1" spc="15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0" name="文本框 49"/>
          <p:cNvSpPr txBox="1"/>
          <p:nvPr>
            <p:custDataLst>
              <p:tags r:id="rId24"/>
            </p:custDataLst>
          </p:nvPr>
        </p:nvSpPr>
        <p:spPr>
          <a:xfrm>
            <a:off x="2022716" y="4179078"/>
            <a:ext cx="3362918" cy="1709324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p>
            <a:pPr algn="ctr" fontAlgn="auto">
              <a:lnSpc>
                <a:spcPct val="120000"/>
              </a:lnSpc>
            </a:pPr>
            <a:r>
              <a:rPr lang="en-US" altLang="zh-CN" sz="2400" b="1" spc="1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cronyms</a:t>
            </a:r>
            <a:endParaRPr lang="en-US" altLang="zh-CN" sz="2400" b="1" spc="15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1" name="文本框 50"/>
          <p:cNvSpPr txBox="1"/>
          <p:nvPr>
            <p:custDataLst>
              <p:tags r:id="rId25"/>
            </p:custDataLst>
          </p:nvPr>
        </p:nvSpPr>
        <p:spPr>
          <a:xfrm>
            <a:off x="6844436" y="4179078"/>
            <a:ext cx="3404512" cy="1709324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p>
            <a:pPr algn="ctr" fontAlgn="auto">
              <a:lnSpc>
                <a:spcPct val="120000"/>
              </a:lnSpc>
            </a:pPr>
            <a:r>
              <a:rPr lang="en-US" altLang="zh-CN" sz="2400" b="1" spc="1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odern Language</a:t>
            </a:r>
            <a:endParaRPr lang="en-US" altLang="zh-CN" sz="2400" b="1" spc="15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117205" y="342900"/>
            <a:ext cx="3895725" cy="95313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none" rtlCol="0">
            <a:spAutoFit/>
          </a:bodyPr>
          <a:p>
            <a:pPr algn="l"/>
            <a:r>
              <a:rPr lang="en-US" altLang="zh-CN" sz="2800"/>
              <a:t>Down Syndrome</a:t>
            </a:r>
            <a:endParaRPr lang="zh-CN" altLang="en-US" sz="2800"/>
          </a:p>
          <a:p>
            <a:pPr algn="l"/>
            <a:r>
              <a:rPr lang="zh-CN" altLang="en-US" sz="2800"/>
              <a:t>Dr.John</a:t>
            </a:r>
            <a:r>
              <a:rPr lang="en-US" altLang="zh-CN" sz="2800"/>
              <a:t> </a:t>
            </a:r>
            <a:r>
              <a:rPr lang="zh-CN" altLang="en-US" sz="2800"/>
              <a:t>Langdon</a:t>
            </a:r>
            <a:r>
              <a:rPr lang="en-US" altLang="zh-CN" sz="2800"/>
              <a:t> </a:t>
            </a:r>
            <a:r>
              <a:rPr lang="zh-CN" altLang="en-US" sz="2800"/>
              <a:t>Down</a:t>
            </a:r>
            <a:endParaRPr lang="zh-CN" altLang="en-US" sz="2800"/>
          </a:p>
        </p:txBody>
      </p:sp>
      <p:sp>
        <p:nvSpPr>
          <p:cNvPr id="7" name="文本框 6"/>
          <p:cNvSpPr txBox="1"/>
          <p:nvPr/>
        </p:nvSpPr>
        <p:spPr>
          <a:xfrm>
            <a:off x="1085850" y="4772660"/>
            <a:ext cx="657860" cy="5219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none" rtlCol="0">
            <a:spAutoFit/>
          </a:bodyPr>
          <a:p>
            <a:pPr algn="l"/>
            <a:r>
              <a:rPr lang="en-US" altLang="zh-CN" sz="2800"/>
              <a:t>BP</a:t>
            </a:r>
            <a:endParaRPr lang="en-US" altLang="zh-CN" sz="280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6" grpId="1" animBg="1"/>
      <p:bldP spid="7" grpId="0" bldLvl="0" animBg="1"/>
      <p:bldP spid="7" grpId="1" animBg="1"/>
    </p:bldLst>
  </p:timing>
</p:sld>
</file>

<file path=ppt/tags/tag1.xml><?xml version="1.0" encoding="utf-8"?>
<p:tagLst xmlns:p="http://schemas.openxmlformats.org/presentationml/2006/main">
  <p:tag name="KSO_WM_UNIT_PLACING_PICTURE_USER_VIEWPORT" val="{&quot;height&quot;:1480,&quot;width&quot;:1527.4992125984252}"/>
</p:tagLst>
</file>

<file path=ppt/tags/tag10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1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2.xml><?xml version="1.0" encoding="utf-8"?>
<p:tagLst xmlns:p="http://schemas.openxmlformats.org/presentationml/2006/main">
  <p:tag name="KSO_WM_UNIT_FILL_FORE_SCHEMECOLOR_INDEX_BRIGHTNESS" val="0"/>
  <p:tag name="KSO_WM_UNIT_FILL_FORE_SCHEMECOLOR_INDEX" val="11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3.xml><?xml version="1.0" encoding="utf-8"?>
<p:tagLst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4.xml><?xml version="1.0" encoding="utf-8"?>
<p:tagLst xmlns:p="http://schemas.openxmlformats.org/presentationml/2006/main">
  <p:tag name="KSO_WM_UNIT_FILL_FORE_SCHEMECOLOR_INDEX_BRIGHTNESS" val="0"/>
  <p:tag name="KSO_WM_UNIT_FILL_FORE_SCHEMECOLOR_INDEX" val="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5.xml><?xml version="1.0" encoding="utf-8"?>
<p:tagLst xmlns:p="http://schemas.openxmlformats.org/presentationml/2006/main">
  <p:tag name="KSO_WM_UNIT_FILL_FORE_SCHEMECOLOR_INDEX_BRIGHTNESS" val="0"/>
  <p:tag name="KSO_WM_UNIT_FILL_FORE_SCHEMECOLOR_INDEX" val="12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6.xml><?xml version="1.0" encoding="utf-8"?>
<p:tagLst xmlns:p="http://schemas.openxmlformats.org/presentationml/2006/main">
  <p:tag name="KSO_WM_UNIT_FILL_FORE_SCHEMECOLOR_INDEX_BRIGHTNESS" val="0"/>
  <p:tag name="KSO_WM_UNIT_FILL_FORE_SCHEMECOLOR_INDEX" val="15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17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8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19.xml><?xml version="1.0" encoding="utf-8"?>
<p:tagLst xmlns:p="http://schemas.openxmlformats.org/presentationml/2006/main">
  <p:tag name="KSO_WM_UNIT_LINE_FORE_SCHEMECOLOR_INDEX_BRIGHTNESS" val="0"/>
  <p:tag name="KSO_WM_UNIT_LINE_FORE_SCHEMECOLOR_INDEX" val="6"/>
  <p:tag name="KSO_WM_UNIT_LINE_FILL_TYPE" val="2"/>
  <p:tag name="KSO_WM_UNIT_TEXT_FILL_FORE_SCHEMECOLOR_INDEX_BRIGHTNESS" val="0"/>
  <p:tag name="KSO_WM_UNIT_TEXT_FILL_FORE_SCHEMECOLOR_INDEX" val="13"/>
  <p:tag name="KSO_WM_UNIT_TEXT_FILL_TYPE" val="1"/>
</p:tagLst>
</file>

<file path=ppt/tags/tag2.xml><?xml version="1.0" encoding="utf-8"?>
<p:tagLst xmlns:p="http://schemas.openxmlformats.org/presentationml/2006/main">
  <p:tag name="KSO_WM_UNIT_PLACING_PICTURE_USER_VIEWPORT" val="{&quot;height&quot;:10800,&quot;width&quot;:15779}"/>
</p:tagLst>
</file>

<file path=ppt/tags/tag20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1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2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23.xml><?xml version="1.0" encoding="utf-8"?>
<p:tagLst xmlns:p="http://schemas.openxmlformats.org/presentationml/2006/main">
  <p:tag name="KSO_WM_UNIT_FILL_FORE_SCHEMECOLOR_INDEX_BRIGHTNESS" val="0.4"/>
  <p:tag name="KSO_WM_UNIT_FILL_FORE_SCHEMECOLOR_INDEX" val="5"/>
  <p:tag name="KSO_WM_UNIT_FILL_TYPE" val="1"/>
</p:tagLst>
</file>

<file path=ppt/tags/tag24.xml><?xml version="1.0" encoding="utf-8"?>
<p:tagLst xmlns:p="http://schemas.openxmlformats.org/presentationml/2006/main">
  <p:tag name="KSO_WM_SLIDE_BACKGROUND_TYPE" val="general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_12**"/>
  <p:tag name="KSO_WM_UNIT_LAYERLEVEL" val="1"/>
  <p:tag name="KSO_WM_TAG_VERSION" val="1.0"/>
  <p:tag name="KSO_WM_BEAUTIFY_FLAG" val="#wm#"/>
  <p:tag name="WM_BEAUTIFY_SHAPE_IDENTITY" val="{f0cf23b0-28e0-40d3-b9c8-998ec465a1c5}"/>
  <p:tag name="KSO_WM_UNIT_TYPE" val="i"/>
</p:tagLst>
</file>

<file path=ppt/tags/tag25.xml><?xml version="1.0" encoding="utf-8"?>
<p:tagLst xmlns:p="http://schemas.openxmlformats.org/presentationml/2006/main">
  <p:tag name="KSO_WM_SLIDE_BACKGROUND_TYPE" val="general"/>
  <p:tag name="KSO_WM_SLIDE_BK_DARK_LIGHT" val="2"/>
  <p:tag name="KSO_WM_UNIT_HIGHLIGHT" val="0"/>
  <p:tag name="KSO_WM_UNIT_COMPATIBLE" val="0"/>
  <p:tag name="KSO_WM_UNIT_DIAGRAM_ISNUMVISUAL" val="0"/>
  <p:tag name="KSO_WM_UNIT_DIAGRAM_ISREFERUNIT" val="0"/>
  <p:tag name="KSO_WM_UNIT_ID" val="_12**"/>
  <p:tag name="KSO_WM_UNIT_LAYERLEVEL" val="1"/>
  <p:tag name="KSO_WM_TAG_VERSION" val="1.0"/>
  <p:tag name="KSO_WM_BEAUTIFY_FLAG" val="#wm#"/>
  <p:tag name="WM_BEAUTIFY_SHAPE_IDENTITY" val="{e7003428-a9eb-41cb-b889-71dfbd4c9b3d}"/>
  <p:tag name="KSO_WM_UNIT_TYPE" val="i"/>
</p:tagLst>
</file>

<file path=ppt/tags/tag26.xml><?xml version="1.0" encoding="utf-8"?>
<p:tagLst xmlns:p="http://schemas.openxmlformats.org/presentationml/2006/main">
  <p:tag name="KSO_WM_SLIDE_BK_DARK_LIGHT" val="2"/>
  <p:tag name="KSO_WM_SLIDE_BACKGROUND_TYPE" val="general"/>
</p:tagLst>
</file>

<file path=ppt/tags/tag2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1"/>
  <p:tag name="KSO_WM_UNIT_ID" val="diagram710_4*i*1"/>
  <p:tag name="KSO_WM_TEMPLATE_CATEGORY" val="diagram"/>
  <p:tag name="KSO_WM_TEMPLATE_INDEX" val="710"/>
  <p:tag name="KSO_WM_UNIT_LAYERLEVEL" val="1"/>
  <p:tag name="KSO_WM_TAG_VERSION" val="1.0"/>
  <p:tag name="KSO_WM_BEAUTIFY_FLAG" val="#wm#"/>
</p:tagLst>
</file>

<file path=ppt/tags/tag2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1"/>
  <p:tag name="KSO_WM_UNIT_ID" val="diagram710_4*l_h_i*1_1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2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2"/>
  <p:tag name="KSO_WM_UNIT_ID" val="diagram710_4*l_h_i*1_1_2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3.xml><?xml version="1.0" encoding="utf-8"?>
<p:tagLst xmlns:p="http://schemas.openxmlformats.org/presentationml/2006/main">
  <p:tag name="KSO_WM_UNIT_FILL_FORE_SCHEMECOLOR_INDEX_BRIGHTNESS" val="0"/>
  <p:tag name="KSO_WM_UNIT_FILL_FORE_SCHEMECOLOR_INDEX" val="6"/>
  <p:tag name="KSO_WM_UNIT_FILL_TYPE" val="1"/>
  <p:tag name="KSO_WM_UNIT_TEXT_FILL_FORE_SCHEMECOLOR_INDEX_BRIGHTNESS" val="0"/>
  <p:tag name="KSO_WM_UNIT_TEXT_FILL_FORE_SCHEMECOLOR_INDEX" val="13"/>
  <p:tag name="KSO_WM_UNIT_TEXT_FILL_TYPE" val="1"/>
</p:tagLst>
</file>

<file path=ppt/tags/tag3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3"/>
  <p:tag name="KSO_WM_UNIT_ID" val="diagram710_4*l_h_i*1_1_3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4"/>
  <p:tag name="KSO_WM_UNIT_TEXT_FILL_TYPE" val="1"/>
</p:tagLst>
</file>

<file path=ppt/tags/tag3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1_4"/>
  <p:tag name="KSO_WM_UNIT_ID" val="diagram710_4*l_h_i*1_1_4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3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4"/>
  <p:tag name="KSO_WM_UNIT_ID" val="diagram710_4*i*4"/>
  <p:tag name="KSO_WM_TEMPLATE_CATEGORY" val="diagram"/>
  <p:tag name="KSO_WM_TEMPLATE_INDEX" val="710"/>
  <p:tag name="KSO_WM_UNIT_LAYERLEVEL" val="1"/>
  <p:tag name="KSO_WM_TAG_VERSION" val="1.0"/>
  <p:tag name="KSO_WM_BEAUTIFY_FLAG" val="#wm#"/>
</p:tagLst>
</file>

<file path=ppt/tags/tag3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1"/>
  <p:tag name="KSO_WM_UNIT_ID" val="diagram710_4*l_h_i*1_2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3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2"/>
  <p:tag name="KSO_WM_UNIT_ID" val="diagram710_4*l_h_i*1_2_2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3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3"/>
  <p:tag name="KSO_WM_UNIT_ID" val="diagram710_4*l_h_i*1_2_3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4"/>
  <p:tag name="KSO_WM_UNIT_TEXT_FILL_TYPE" val="1"/>
</p:tagLst>
</file>

<file path=ppt/tags/tag3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2_4"/>
  <p:tag name="KSO_WM_UNIT_ID" val="diagram710_4*l_h_i*1_2_4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3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2"/>
  <p:tag name="KSO_WM_UNIT_ID" val="diagram710_4*i*2"/>
  <p:tag name="KSO_WM_TEMPLATE_CATEGORY" val="diagram"/>
  <p:tag name="KSO_WM_TEMPLATE_INDEX" val="710"/>
  <p:tag name="KSO_WM_UNIT_LAYERLEVEL" val="1"/>
  <p:tag name="KSO_WM_TAG_VERSION" val="1.0"/>
  <p:tag name="KSO_WM_BEAUTIFY_FLAG" val="#wm#"/>
</p:tagLst>
</file>

<file path=ppt/tags/tag3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1"/>
  <p:tag name="KSO_WM_UNIT_ID" val="diagram710_4*l_h_i*1_3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3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2"/>
  <p:tag name="KSO_WM_UNIT_ID" val="diagram710_4*l_h_i*1_3_2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4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4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3"/>
  <p:tag name="KSO_WM_UNIT_ID" val="diagram710_4*l_h_i*1_3_3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4"/>
  <p:tag name="KSO_WM_UNIT_TEXT_FILL_TYPE" val="1"/>
</p:tagLst>
</file>

<file path=ppt/tags/tag4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3_4"/>
  <p:tag name="KSO_WM_UNIT_ID" val="diagram710_4*l_h_i*1_3_4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42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i"/>
  <p:tag name="KSO_WM_UNIT_INDEX" val="3"/>
  <p:tag name="KSO_WM_UNIT_ID" val="diagram710_4*i*3"/>
  <p:tag name="KSO_WM_TEMPLATE_CATEGORY" val="diagram"/>
  <p:tag name="KSO_WM_TEMPLATE_INDEX" val="710"/>
  <p:tag name="KSO_WM_UNIT_LAYERLEVEL" val="1"/>
  <p:tag name="KSO_WM_TAG_VERSION" val="1.0"/>
  <p:tag name="KSO_WM_BEAUTIFY_FLAG" val="#wm#"/>
</p:tagLst>
</file>

<file path=ppt/tags/tag4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1"/>
  <p:tag name="KSO_WM_UNIT_ID" val="diagram710_4*l_h_i*1_4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4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2"/>
  <p:tag name="KSO_WM_UNIT_ID" val="diagram710_4*l_h_i*1_4_2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LINE_FORE_SCHEMECOLOR_INDEX" val="6"/>
  <p:tag name="KSO_WM_UNIT_LINE_FILL_TYPE" val="2"/>
</p:tagLst>
</file>

<file path=ppt/tags/tag4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3"/>
  <p:tag name="KSO_WM_UNIT_ID" val="diagram710_4*l_h_i*1_4_3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FILL_FORE_SCHEMECOLOR_INDEX" val="5"/>
  <p:tag name="KSO_WM_UNIT_FILL_TYPE" val="1"/>
  <p:tag name="KSO_WM_UNIT_TEXT_FILL_FORE_SCHEMECOLOR_INDEX" val="14"/>
  <p:tag name="KSO_WM_UNIT_TEXT_FILL_TYPE" val="1"/>
</p:tagLst>
</file>

<file path=ppt/tags/tag4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i"/>
  <p:tag name="KSO_WM_UNIT_INDEX" val="1_4_4"/>
  <p:tag name="KSO_WM_UNIT_ID" val="diagram710_4*l_h_i*1_4_4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TEXT_FILL_FORE_SCHEMECOLOR_INDEX" val="13"/>
  <p:tag name="KSO_WM_UNIT_TEXT_FILL_TYPE" val="1"/>
</p:tagLst>
</file>

<file path=ppt/tags/tag47.xml><?xml version="1.0" encoding="utf-8"?>
<p:tagLst xmlns:p="http://schemas.openxmlformats.org/presentationml/2006/main">
  <p:tag name="KSO_WM_UNIT_NOCLEAR" val="0"/>
  <p:tag name="KSO_WM_UNIT_VALUE" val="52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1_1"/>
  <p:tag name="KSO_WM_UNIT_ID" val="diagram710_4*l_h_f*1_1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PRESET_TEXT" val="单击此处添加&#13;文本具体内容"/>
  <p:tag name="KSO_WM_UNIT_TEXT_FILL_FORE_SCHEMECOLOR_INDEX" val="14"/>
  <p:tag name="KSO_WM_UNIT_TEXT_FILL_TYPE" val="1"/>
</p:tagLst>
</file>

<file path=ppt/tags/tag48.xml><?xml version="1.0" encoding="utf-8"?>
<p:tagLst xmlns:p="http://schemas.openxmlformats.org/presentationml/2006/main">
  <p:tag name="KSO_WM_UNIT_NOCLEAR" val="0"/>
  <p:tag name="KSO_WM_UNIT_VALUE" val="52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2_1"/>
  <p:tag name="KSO_WM_UNIT_ID" val="diagram710_4*l_h_f*1_2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PRESET_TEXT" val="单击此处添加&#13;文本具体内容"/>
  <p:tag name="KSO_WM_UNIT_TEXT_FILL_FORE_SCHEMECOLOR_INDEX" val="14"/>
  <p:tag name="KSO_WM_UNIT_TEXT_FILL_TYPE" val="1"/>
</p:tagLst>
</file>

<file path=ppt/tags/tag49.xml><?xml version="1.0" encoding="utf-8"?>
<p:tagLst xmlns:p="http://schemas.openxmlformats.org/presentationml/2006/main">
  <p:tag name="KSO_WM_UNIT_NOCLEAR" val="0"/>
  <p:tag name="KSO_WM_UNIT_VALUE" val="52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3_1"/>
  <p:tag name="KSO_WM_UNIT_ID" val="diagram710_4*l_h_f*1_3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PRESET_TEXT" val="单击此处添加&#13;文本具体内容"/>
  <p:tag name="KSO_WM_UNIT_TEXT_FILL_FORE_SCHEMECOLOR_INDEX" val="14"/>
  <p:tag name="KSO_WM_UNIT_TEXT_FILL_TYPE" val="1"/>
</p:tagLst>
</file>

<file path=ppt/tags/tag5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50.xml><?xml version="1.0" encoding="utf-8"?>
<p:tagLst xmlns:p="http://schemas.openxmlformats.org/presentationml/2006/main">
  <p:tag name="KSO_WM_UNIT_NOCLEAR" val="0"/>
  <p:tag name="KSO_WM_UNIT_VALUE" val="52"/>
  <p:tag name="KSO_WM_UNIT_HIGHLIGHT" val="0"/>
  <p:tag name="KSO_WM_UNIT_COMPATIBLE" val="0"/>
  <p:tag name="KSO_WM_UNIT_DIAGRAM_ISNUMVISUAL" val="0"/>
  <p:tag name="KSO_WM_UNIT_DIAGRAM_ISREFERUNIT" val="0"/>
  <p:tag name="KSO_WM_DIAGRAM_GROUP_CODE" val="l1-1"/>
  <p:tag name="KSO_WM_UNIT_TYPE" val="l_h_f"/>
  <p:tag name="KSO_WM_UNIT_INDEX" val="1_4_1"/>
  <p:tag name="KSO_WM_UNIT_ID" val="diagram710_4*l_h_f*1_4_1"/>
  <p:tag name="KSO_WM_TEMPLATE_CATEGORY" val="diagram"/>
  <p:tag name="KSO_WM_TEMPLATE_INDEX" val="710"/>
  <p:tag name="KSO_WM_UNIT_LAYERLEVEL" val="1_1_1"/>
  <p:tag name="KSO_WM_TAG_VERSION" val="1.0"/>
  <p:tag name="KSO_WM_BEAUTIFY_FLAG" val="#wm#"/>
  <p:tag name="KSO_WM_UNIT_PRESET_TEXT" val="单击此处添加&#13;文本具体内容"/>
  <p:tag name="KSO_WM_UNIT_TEXT_FILL_FORE_SCHEMECOLOR_INDEX" val="14"/>
  <p:tag name="KSO_WM_UNIT_TEXT_FILL_TYPE" val="1"/>
</p:tagLst>
</file>

<file path=ppt/tags/tag51.xml><?xml version="1.0" encoding="utf-8"?>
<p:tagLst xmlns:p="http://schemas.openxmlformats.org/presentationml/2006/main">
  <p:tag name="KSO_WM_BEAUTIFY_FLAG" val="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BEAUTIFY_FLAG" val=""/>
</p:tagLst>
</file>

<file path=ppt/tags/tag54.xml><?xml version="1.0" encoding="utf-8"?>
<p:tagLst xmlns:p="http://schemas.openxmlformats.org/presentationml/2006/main">
  <p:tag name="KSO_WM_BEAUTIFY_FLAG" val=""/>
</p:tagLst>
</file>

<file path=ppt/tags/tag55.xml><?xml version="1.0" encoding="utf-8"?>
<p:tagLst xmlns:p="http://schemas.openxmlformats.org/presentationml/2006/main">
  <p:tag name="ISLIDE.THEME" val="234dd5ac-a1a2-4557-a8ab-34acfe0378a0"/>
  <p:tag name="COMMONDATA" val="eyJoZGlkIjoiODIyMGRmZDI2YmQyYjYzMmI2ZmViM2Q5Zjc3MTkzZjAifQ=="/>
  <p:tag name="KSO_WPP_MARK_KEY" val="37edb72d-bc0b-44a7-a3cb-46cd3df1f1c0"/>
  <p:tag name="commondata" val="eyJoZGlkIjoiOTdmMjZhYjg0MzYyOTU4NDRmYjVhMzYwYzY2YWNiMzcifQ=="/>
</p:tagLst>
</file>

<file path=ppt/tags/tag6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7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8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ags/tag9.xml><?xml version="1.0" encoding="utf-8"?>
<p:tagLst xmlns:p="http://schemas.openxmlformats.org/presentationml/2006/main">
  <p:tag name="KSO_WM_UNIT_TEXT_FILL_FORE_SCHEMECOLOR_INDEX_BRIGHTNESS" val="0"/>
  <p:tag name="KSO_WM_UNIT_TEXT_FILL_FORE_SCHEMECOLOR_INDEX" val="13"/>
  <p:tag name="KSO_WM_UNIT_TEXT_FILL_TYPE" val="1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F117A"/>
      </a:accent1>
      <a:accent2>
        <a:srgbClr val="5A7ECC"/>
      </a:accent2>
      <a:accent3>
        <a:srgbClr val="55C6AA"/>
      </a:accent3>
      <a:accent4>
        <a:srgbClr val="E85E5B"/>
      </a:accent4>
      <a:accent5>
        <a:srgbClr val="EAA9C1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F117A"/>
    </a:accent1>
    <a:accent2>
      <a:srgbClr val="5A7ECC"/>
    </a:accent2>
    <a:accent3>
      <a:srgbClr val="55C6AA"/>
    </a:accent3>
    <a:accent4>
      <a:srgbClr val="E85E5B"/>
    </a:accent4>
    <a:accent5>
      <a:srgbClr val="EAA9C1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0</TotalTime>
  <Words>5417</Words>
  <Application>WPS 演示</Application>
  <PresentationFormat>宽屏</PresentationFormat>
  <Paragraphs>432</Paragraphs>
  <Slides>36</Slides>
  <Notes>3</Notes>
  <HiddenSlides>3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36</vt:i4>
      </vt:variant>
    </vt:vector>
  </HeadingPairs>
  <TitlesOfParts>
    <vt:vector size="49" baseType="lpstr">
      <vt:lpstr>Arial</vt:lpstr>
      <vt:lpstr>宋体</vt:lpstr>
      <vt:lpstr>Wingdings</vt:lpstr>
      <vt:lpstr>微软雅黑</vt:lpstr>
      <vt:lpstr>Times New Roman</vt:lpstr>
      <vt:lpstr>Arial Unicode MS</vt:lpstr>
      <vt:lpstr>Calibri</vt:lpstr>
      <vt:lpstr>Wingdings</vt:lpstr>
      <vt:lpstr>华文新魏</vt:lpstr>
      <vt:lpstr>Verdana</vt:lpstr>
      <vt:lpstr>主题5</vt:lpstr>
      <vt:lpstr>TCLayout.ActiveDocument.1</vt:lpstr>
      <vt:lpstr>TCLayout.ActiveDocument.1</vt:lpstr>
      <vt:lpstr>College English</vt:lpstr>
      <vt:lpstr>PowerPoint 演示文稿</vt:lpstr>
      <vt:lpstr>课程定位 （Orientation）</vt:lpstr>
      <vt:lpstr>经济全球化</vt:lpstr>
      <vt:lpstr>PowerPoint 演示文稿</vt:lpstr>
      <vt:lpstr>教学内容</vt:lpstr>
      <vt:lpstr>医学英语词汇基础知识</vt:lpstr>
      <vt:lpstr>Medical terms </vt:lpstr>
      <vt:lpstr>Origins of Medical Language</vt:lpstr>
      <vt:lpstr>PowerPoint 演示文稿</vt:lpstr>
      <vt:lpstr>PowerPoint 演示文稿</vt:lpstr>
      <vt:lpstr>Quiz </vt:lpstr>
      <vt:lpstr>医学英语词汇的五大特点</vt:lpstr>
      <vt:lpstr>医护英语词汇的五个特点</vt:lpstr>
      <vt:lpstr>医护英语词汇的五个特点</vt:lpstr>
      <vt:lpstr>英语词汇的构成</vt:lpstr>
      <vt:lpstr>英语词汇的构成</vt:lpstr>
      <vt:lpstr>医护英语词汇的五个特点</vt:lpstr>
      <vt:lpstr>Components of A Medical Word</vt:lpstr>
      <vt:lpstr>Root</vt:lpstr>
      <vt:lpstr>Prefix</vt:lpstr>
      <vt:lpstr>Suffix</vt:lpstr>
      <vt:lpstr>Combining Vowel</vt:lpstr>
      <vt:lpstr>Combining Form Guidelines</vt:lpstr>
      <vt:lpstr>Example</vt:lpstr>
      <vt:lpstr>More examples</vt:lpstr>
      <vt:lpstr>Quiz </vt:lpstr>
      <vt:lpstr>医护英语词汇的五个特点</vt:lpstr>
      <vt:lpstr>医护英语词汇的五个特点</vt:lpstr>
      <vt:lpstr>医护英语词汇的五个特点</vt:lpstr>
      <vt:lpstr>PowerPoint 演示文稿</vt:lpstr>
      <vt:lpstr>问卷调查</vt:lpstr>
      <vt:lpstr>Thanks </vt:lpstr>
      <vt:lpstr>遗传复制（Genetic Copy)</vt:lpstr>
      <vt:lpstr>遗传复制（Genetic Copy)</vt:lpstr>
      <vt:lpstr>遗传复制（Genetic Copy)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Annie</cp:lastModifiedBy>
  <cp:revision>81</cp:revision>
  <cp:lastPrinted>2020-02-04T16:00:00Z</cp:lastPrinted>
  <dcterms:created xsi:type="dcterms:W3CDTF">2020-02-04T16:00:00Z</dcterms:created>
  <dcterms:modified xsi:type="dcterms:W3CDTF">2024-04-12T10:4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37CC1471C29D46B5AD608455B35881AB</vt:lpwstr>
  </property>
  <property fmtid="{D5CDD505-2E9C-101B-9397-08002B2CF9AE}" pid="4" name="KSOProductBuildVer">
    <vt:lpwstr>2052-12.1.0.16417</vt:lpwstr>
  </property>
</Properties>
</file>